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98" r:id="rId1"/>
    <p:sldMasterId id="2147483811" r:id="rId2"/>
    <p:sldMasterId id="2147483825" r:id="rId3"/>
  </p:sldMasterIdLst>
  <p:notesMasterIdLst>
    <p:notesMasterId r:id="rId36"/>
  </p:notesMasterIdLst>
  <p:sldIdLst>
    <p:sldId id="386" r:id="rId4"/>
    <p:sldId id="549" r:id="rId5"/>
    <p:sldId id="666" r:id="rId6"/>
    <p:sldId id="705" r:id="rId7"/>
    <p:sldId id="706" r:id="rId8"/>
    <p:sldId id="707" r:id="rId9"/>
    <p:sldId id="704" r:id="rId10"/>
    <p:sldId id="700" r:id="rId11"/>
    <p:sldId id="701" r:id="rId12"/>
    <p:sldId id="673" r:id="rId13"/>
    <p:sldId id="697" r:id="rId14"/>
    <p:sldId id="698" r:id="rId15"/>
    <p:sldId id="684" r:id="rId16"/>
    <p:sldId id="685" r:id="rId17"/>
    <p:sldId id="443" r:id="rId18"/>
    <p:sldId id="424" r:id="rId19"/>
    <p:sldId id="427" r:id="rId20"/>
    <p:sldId id="546" r:id="rId21"/>
    <p:sldId id="540" r:id="rId22"/>
    <p:sldId id="544" r:id="rId23"/>
    <p:sldId id="687" r:id="rId24"/>
    <p:sldId id="435" r:id="rId25"/>
    <p:sldId id="672" r:id="rId26"/>
    <p:sldId id="681" r:id="rId27"/>
    <p:sldId id="688" r:id="rId28"/>
    <p:sldId id="528" r:id="rId29"/>
    <p:sldId id="702" r:id="rId30"/>
    <p:sldId id="547" r:id="rId31"/>
    <p:sldId id="689" r:id="rId32"/>
    <p:sldId id="695" r:id="rId33"/>
    <p:sldId id="686" r:id="rId34"/>
    <p:sldId id="696" r:id="rId35"/>
  </p:sldIdLst>
  <p:sldSz cx="15119350" cy="10691813"/>
  <p:notesSz cx="6797675" cy="9928225"/>
  <p:embeddedFontLst>
    <p:embeddedFont>
      <p:font typeface="Calibri" panose="020F0502020204030204" pitchFamily="34" charset="0"/>
      <p:regular r:id="rId37"/>
      <p:bold r:id="rId38"/>
      <p:italic r:id="rId39"/>
      <p:boldItalic r:id="rId40"/>
    </p:embeddedFont>
    <p:embeddedFont>
      <p:font typeface="Calibri Light" panose="020F0302020204030204" pitchFamily="34" charset="0"/>
      <p:regular r:id="rId41"/>
      <p:italic r:id="rId42"/>
    </p:embeddedFont>
  </p:embeddedFontLst>
  <p:defaultTextStyle>
    <a:defPPr>
      <a:defRPr lang="ru-RU"/>
    </a:defPPr>
    <a:lvl1pPr marL="0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1pPr>
    <a:lvl2pPr marL="646469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2pPr>
    <a:lvl3pPr marL="1292937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3pPr>
    <a:lvl4pPr marL="1939406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4pPr>
    <a:lvl5pPr marL="2585874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5pPr>
    <a:lvl6pPr marL="3232343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6pPr>
    <a:lvl7pPr marL="3878810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7pPr>
    <a:lvl8pPr marL="4525280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8pPr>
    <a:lvl9pPr marL="5171747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4763" userDrawn="1">
          <p15:clr>
            <a:srgbClr val="A4A3A4"/>
          </p15:clr>
        </p15:guide>
        <p15:guide id="2" orient="horz" pos="3369" userDrawn="1">
          <p15:clr>
            <a:srgbClr val="A4A3A4"/>
          </p15:clr>
        </p15:guide>
        <p15:guide id="3" pos="488" userDrawn="1">
          <p15:clr>
            <a:srgbClr val="A4A3A4"/>
          </p15:clr>
        </p15:guide>
        <p15:guide id="4" orient="horz" pos="4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аталья Алтыникова" initials="НА" lastIdx="1" clrIdx="0">
    <p:extLst>
      <p:ext uri="{19B8F6BF-5375-455C-9EA6-DF929625EA0E}">
        <p15:presenceInfo xmlns:p15="http://schemas.microsoft.com/office/powerpoint/2012/main" userId="1c6a4539b27602f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3D67"/>
    <a:srgbClr val="565087"/>
    <a:srgbClr val="CDCDEB"/>
    <a:srgbClr val="8A8AD0"/>
    <a:srgbClr val="ABABDD"/>
    <a:srgbClr val="9D9DD7"/>
    <a:srgbClr val="007499"/>
    <a:srgbClr val="005685"/>
    <a:srgbClr val="FF5429"/>
    <a:srgbClr val="00B0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839" autoAdjust="0"/>
    <p:restoredTop sz="99882" autoAdjust="0"/>
  </p:normalViewPr>
  <p:slideViewPr>
    <p:cSldViewPr snapToGrid="0" snapToObjects="1">
      <p:cViewPr varScale="1">
        <p:scale>
          <a:sx n="49" d="100"/>
          <a:sy n="49" d="100"/>
        </p:scale>
        <p:origin x="978" y="72"/>
      </p:cViewPr>
      <p:guideLst>
        <p:guide pos="4763"/>
        <p:guide orient="horz" pos="3369"/>
        <p:guide pos="488"/>
        <p:guide orient="horz" pos="43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76" d="100"/>
          <a:sy n="76" d="100"/>
        </p:scale>
        <p:origin x="-3282" y="-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font" Target="fonts/font3.fntdata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font" Target="fonts/font6.fntdata"/><Relationship Id="rId47" Type="http://schemas.openxmlformats.org/officeDocument/2006/relationships/tableStyles" Target="tableStyle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font" Target="fonts/font1.fntdata"/><Relationship Id="rId40" Type="http://schemas.openxmlformats.org/officeDocument/2006/relationships/font" Target="fonts/font4.fntdata"/><Relationship Id="rId45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commentAuthors" Target="commentAuthor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font" Target="fonts/font2.fntdata"/><Relationship Id="rId46" Type="http://schemas.openxmlformats.org/officeDocument/2006/relationships/theme" Target="theme/theme1.xml"/><Relationship Id="rId20" Type="http://schemas.openxmlformats.org/officeDocument/2006/relationships/slide" Target="slides/slide17.xml"/><Relationship Id="rId41" Type="http://schemas.openxmlformats.org/officeDocument/2006/relationships/font" Target="fonts/font5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1056;&#1072;&#1073;&#1086;&#1090;&#1072;\&#1042;&#1085;&#1077;&#1073;&#1102;&#1076;&#1078;&#1077;&#1090;%202021\&#1054;&#1089;&#1085;&#1086;&#1074;&#1085;&#1086;&#1081;%20&#1101;&#1090;&#1072;&#1087;\&#1054;&#1090;&#1095;&#1077;&#1090;\&#1082;%2008.11.2021\&#1057;&#1074;&#1086;&#1076;+&#1087;&#1088;&#1086;&#1073;&#1083;&#1077;&#1084;&#1099;+&#1076;&#1086;&#1082;_&#1082;%2008.1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1056;&#1072;&#1073;&#1086;&#1090;&#1072;\&#1042;&#1085;&#1077;&#1073;&#1102;&#1076;&#1078;&#1077;&#1090;%202021\&#1054;&#1089;&#1085;&#1086;&#1074;&#1085;&#1086;&#1081;%20&#1101;&#1090;&#1072;&#1087;\&#1054;&#1090;&#1095;&#1077;&#1090;\&#1082;%2008.11.2021\&#1057;&#1074;&#1086;&#1076;+&#1087;&#1088;&#1086;&#1073;&#1083;&#1077;&#1084;&#1099;+&#1076;&#1086;&#1082;_&#1082;%2008.11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523434771081191"/>
          <c:y val="4.9261083743842367E-2"/>
          <c:w val="0.49491526279685377"/>
          <c:h val="0.8367502327984179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3BC-4ECB-B036-EFC928BB0B5B}"/>
              </c:ext>
            </c:extLst>
          </c:dPt>
          <c:dPt>
            <c:idx val="2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3BC-4ECB-B036-EFC928BB0B5B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3BC-4ECB-B036-EFC928BB0B5B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E3BC-4ECB-B036-EFC928BB0B5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Проблемы_Обуч!$A$12:$A$21</c:f>
              <c:strCache>
                <c:ptCount val="10"/>
                <c:pt idx="0">
                  <c:v>Отсутствие качественной системы безопасности в школе</c:v>
                </c:pt>
                <c:pt idx="1">
                  <c:v>Отсутствие в школе системы работы с отстающими учениками</c:v>
                </c:pt>
                <c:pt idx="2">
                  <c:v>Неинтересные уроки</c:v>
                </c:pt>
                <c:pt idx="3">
                  <c:v>Недостаток площадей для осуществления образовательного процесса, и, как следствие обучение в 2-3 смены</c:v>
                </c:pt>
                <c:pt idx="4">
                  <c:v>Плохое питание</c:v>
                </c:pt>
                <c:pt idx="5">
                  <c:v>Отсутствие индивидуальных образовательных траекторий</c:v>
                </c:pt>
                <c:pt idx="6">
                  <c:v>Отсутствие интернета и доступа к электронным образовательным ресурсам в школе</c:v>
                </c:pt>
                <c:pt idx="7">
                  <c:v>Устаревшее оснащение школы</c:v>
                </c:pt>
                <c:pt idx="8">
                  <c:v>Слишком много контрольных работ</c:v>
                </c:pt>
                <c:pt idx="9">
                  <c:v>Перегруженность домашними заданиями</c:v>
                </c:pt>
              </c:strCache>
            </c:strRef>
          </c:cat>
          <c:val>
            <c:numRef>
              <c:f>Проблемы_Обуч!$C$12:$C$21</c:f>
              <c:numCache>
                <c:formatCode>0.0</c:formatCode>
                <c:ptCount val="10"/>
                <c:pt idx="0">
                  <c:v>28.501118568232663</c:v>
                </c:pt>
                <c:pt idx="1">
                  <c:v>28.590604026845639</c:v>
                </c:pt>
                <c:pt idx="2">
                  <c:v>30.290827740492173</c:v>
                </c:pt>
                <c:pt idx="3">
                  <c:v>30.425055928411631</c:v>
                </c:pt>
                <c:pt idx="4">
                  <c:v>30.514541387024607</c:v>
                </c:pt>
                <c:pt idx="5">
                  <c:v>32.841163310961967</c:v>
                </c:pt>
                <c:pt idx="6">
                  <c:v>37.583892617449663</c:v>
                </c:pt>
                <c:pt idx="7">
                  <c:v>42.908277404921705</c:v>
                </c:pt>
                <c:pt idx="8">
                  <c:v>51.946308724832214</c:v>
                </c:pt>
                <c:pt idx="9">
                  <c:v>66.5771812080536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3BC-4ECB-B036-EFC928BB0B5B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376297424"/>
        <c:axId val="1239355440"/>
      </c:barChart>
      <c:catAx>
        <c:axId val="13762974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39355440"/>
        <c:crosses val="autoZero"/>
        <c:auto val="1"/>
        <c:lblAlgn val="ctr"/>
        <c:lblOffset val="100"/>
        <c:noMultiLvlLbl val="0"/>
      </c:catAx>
      <c:valAx>
        <c:axId val="1239355440"/>
        <c:scaling>
          <c:orientation val="minMax"/>
          <c:max val="70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проценты</a:t>
                </a:r>
              </a:p>
            </c:rich>
          </c:tx>
          <c:layout>
            <c:manualLayout>
              <c:xMode val="edge"/>
              <c:yMode val="edge"/>
              <c:x val="0.85678937113085341"/>
              <c:y val="0.821195678998127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629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396221650807813"/>
          <c:y val="5.9475533928088672E-2"/>
          <c:w val="0.48549792312839568"/>
          <c:h val="0.8372176185400406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7A70C6"/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0C4E-41A5-9371-44F1FB288580}"/>
              </c:ext>
            </c:extLst>
          </c:dPt>
          <c:dPt>
            <c:idx val="7"/>
            <c:invertIfNegative val="0"/>
            <c:bubble3D val="0"/>
            <c:spPr>
              <a:solidFill>
                <a:srgbClr val="7A70C6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0C4E-41A5-9371-44F1FB288580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0C4E-41A5-9371-44F1FB28858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Проблемы_Пед!$A$16:$A$25</c:f>
              <c:strCache>
                <c:ptCount val="10"/>
                <c:pt idx="0">
                  <c:v>Трудозатратная процедура аттестации педагогических работников</c:v>
                </c:pt>
                <c:pt idx="1">
                  <c:v>Недостаток площадей для осуществления образовательного процесса, и, как следствие обучение в 2-3 смены</c:v>
                </c:pt>
                <c:pt idx="2">
                  <c:v>Большое количество неоплачиваемой работы у педагогов</c:v>
                </c:pt>
                <c:pt idx="3">
                  <c:v>Недостаток квалифицированных педагогов</c:v>
                </c:pt>
                <c:pt idx="4">
                  <c:v>Низкий уровень материально-технической оснащенности образовательного процесса</c:v>
                </c:pt>
                <c:pt idx="5">
                  <c:v>Недостаток молодых педагогов</c:v>
                </c:pt>
                <c:pt idx="6">
                  <c:v>Перегруженность педагогов различными мероприятиями и проектами, не относящимися к образовательной программе</c:v>
                </c:pt>
                <c:pt idx="7">
                  <c:v>Низкий уровень мотивации к обучению у подрастающего поколения</c:v>
                </c:pt>
                <c:pt idx="8">
                  <c:v>Высокая документарная нагрузка педагогов</c:v>
                </c:pt>
                <c:pt idx="9">
                  <c:v>Низкая оплата труда педагогов</c:v>
                </c:pt>
              </c:strCache>
            </c:strRef>
          </c:cat>
          <c:val>
            <c:numRef>
              <c:f>Проблемы_Пед!$C$16:$C$25</c:f>
              <c:numCache>
                <c:formatCode>0.0</c:formatCode>
                <c:ptCount val="10"/>
                <c:pt idx="0">
                  <c:v>20.936902485659655</c:v>
                </c:pt>
                <c:pt idx="1">
                  <c:v>24.760994263862333</c:v>
                </c:pt>
                <c:pt idx="2">
                  <c:v>27.915869980879542</c:v>
                </c:pt>
                <c:pt idx="3">
                  <c:v>28.154875717017209</c:v>
                </c:pt>
                <c:pt idx="4">
                  <c:v>33.795411089866157</c:v>
                </c:pt>
                <c:pt idx="5">
                  <c:v>44.216061185468455</c:v>
                </c:pt>
                <c:pt idx="6">
                  <c:v>47.227533460803059</c:v>
                </c:pt>
                <c:pt idx="7">
                  <c:v>57.361376673040155</c:v>
                </c:pt>
                <c:pt idx="8">
                  <c:v>66.969407265774379</c:v>
                </c:pt>
                <c:pt idx="9">
                  <c:v>71.7495219885277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C4E-41A5-9371-44F1FB28858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376297424"/>
        <c:axId val="1239355440"/>
      </c:barChart>
      <c:catAx>
        <c:axId val="13762974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39355440"/>
        <c:crosses val="autoZero"/>
        <c:auto val="1"/>
        <c:lblAlgn val="ctr"/>
        <c:lblOffset val="100"/>
        <c:noMultiLvlLbl val="0"/>
      </c:catAx>
      <c:valAx>
        <c:axId val="1239355440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проценты</a:t>
                </a:r>
              </a:p>
            </c:rich>
          </c:tx>
          <c:layout>
            <c:manualLayout>
              <c:xMode val="edge"/>
              <c:yMode val="edge"/>
              <c:x val="0.84584520467811641"/>
              <c:y val="0.8155612759943469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629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8663-440B-B132-FF61478AA7B1}"/>
              </c:ext>
            </c:extLst>
          </c:dPt>
          <c:dPt>
            <c:idx val="1"/>
            <c:bubble3D val="0"/>
            <c:spPr>
              <a:solidFill>
                <a:srgbClr val="DC391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8663-440B-B132-FF61478AA7B1}"/>
              </c:ext>
            </c:extLst>
          </c:dPt>
          <c:dLbls>
            <c:numFmt formatCode="0.0%" sourceLinked="0"/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27100000000000002</c:v>
                </c:pt>
                <c:pt idx="1">
                  <c:v>0.728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663-440B-B132-FF61478AA7B1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288240450630529"/>
          <c:y val="0.42567987134072327"/>
          <c:w val="9.9871230840763617E-2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35AA43A-CB1A-4AAB-9CBC-C23D67B28EA4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6376079-BA01-434B-B1B6-1D7647171A39}">
      <dgm:prSet phldrT="[Текст]" custT="1"/>
      <dgm:spPr>
        <a:solidFill>
          <a:srgbClr val="C65D28"/>
        </a:solidFill>
      </dgm:spPr>
      <dgm:t>
        <a:bodyPr/>
        <a:lstStyle/>
        <a:p>
          <a:r>
            <a:rPr lang="ru-RU" sz="1600" b="1" dirty="0">
              <a:solidFill>
                <a:schemeClr val="tx1"/>
              </a:solidFill>
            </a:rPr>
            <a:t>Загруженность учителей </a:t>
          </a:r>
        </a:p>
      </dgm:t>
    </dgm:pt>
    <dgm:pt modelId="{E751C3BE-48A5-47E8-A70D-106C3230226F}" type="parTrans" cxnId="{1F9E5C0D-C448-4E3C-B9B3-4B2E4BA50135}">
      <dgm:prSet/>
      <dgm:spPr/>
      <dgm:t>
        <a:bodyPr/>
        <a:lstStyle/>
        <a:p>
          <a:endParaRPr lang="ru-RU"/>
        </a:p>
      </dgm:t>
    </dgm:pt>
    <dgm:pt modelId="{A47FF864-47EE-4DAD-8A79-1754FFF6E4B6}" type="sibTrans" cxnId="{1F9E5C0D-C448-4E3C-B9B3-4B2E4BA50135}">
      <dgm:prSet/>
      <dgm:spPr/>
      <dgm:t>
        <a:bodyPr/>
        <a:lstStyle/>
        <a:p>
          <a:endParaRPr lang="ru-RU"/>
        </a:p>
      </dgm:t>
    </dgm:pt>
    <dgm:pt modelId="{B78396D2-1CE1-4C84-8114-3E523A2FA96B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Некогда готовить интересные уроки  </a:t>
          </a:r>
        </a:p>
      </dgm:t>
    </dgm:pt>
    <dgm:pt modelId="{75CC6DC2-84BD-461F-90EF-327BD80FF570}" type="parTrans" cxnId="{CB99AED9-E9D0-407D-BE28-7C1A8125AC59}">
      <dgm:prSet/>
      <dgm:spPr/>
      <dgm:t>
        <a:bodyPr/>
        <a:lstStyle/>
        <a:p>
          <a:endParaRPr lang="ru-RU"/>
        </a:p>
      </dgm:t>
    </dgm:pt>
    <dgm:pt modelId="{B5EF4533-F99E-45F6-B2B5-71FF6875E469}" type="sibTrans" cxnId="{CB99AED9-E9D0-407D-BE28-7C1A8125AC59}">
      <dgm:prSet/>
      <dgm:spPr/>
      <dgm:t>
        <a:bodyPr/>
        <a:lstStyle/>
        <a:p>
          <a:endParaRPr lang="ru-RU"/>
        </a:p>
      </dgm:t>
    </dgm:pt>
    <dgm:pt modelId="{307FB031-6E95-4B1C-9F67-097412E27CAB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Большое количество домашних заданий </a:t>
          </a:r>
        </a:p>
      </dgm:t>
    </dgm:pt>
    <dgm:pt modelId="{AE942A54-A7FD-4165-8BE4-A83A2D4C822E}" type="parTrans" cxnId="{486C0B97-DBF1-4F61-B08D-FBFF983E5CAD}">
      <dgm:prSet/>
      <dgm:spPr/>
      <dgm:t>
        <a:bodyPr/>
        <a:lstStyle/>
        <a:p>
          <a:endParaRPr lang="ru-RU"/>
        </a:p>
      </dgm:t>
    </dgm:pt>
    <dgm:pt modelId="{FA85DA6C-F354-402F-ABDB-E2AAC1B62246}" type="sibTrans" cxnId="{486C0B97-DBF1-4F61-B08D-FBFF983E5CAD}">
      <dgm:prSet/>
      <dgm:spPr/>
      <dgm:t>
        <a:bodyPr/>
        <a:lstStyle/>
        <a:p>
          <a:endParaRPr lang="ru-RU"/>
        </a:p>
      </dgm:t>
    </dgm:pt>
    <dgm:pt modelId="{EF0348DC-321F-49B1-BF73-A31314043953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Низкая  мотивация </a:t>
          </a:r>
        </a:p>
      </dgm:t>
    </dgm:pt>
    <dgm:pt modelId="{3D042A4C-0590-47BE-82DF-D586F61A15B9}" type="parTrans" cxnId="{108C0BD8-09EA-4A31-ABAE-647D11B851CC}">
      <dgm:prSet/>
      <dgm:spPr/>
      <dgm:t>
        <a:bodyPr/>
        <a:lstStyle/>
        <a:p>
          <a:endParaRPr lang="ru-RU"/>
        </a:p>
      </dgm:t>
    </dgm:pt>
    <dgm:pt modelId="{2566CE4F-898D-4004-AD67-8B8E23FDEB43}" type="sibTrans" cxnId="{108C0BD8-09EA-4A31-ABAE-647D11B851CC}">
      <dgm:prSet/>
      <dgm:spPr/>
      <dgm:t>
        <a:bodyPr/>
        <a:lstStyle/>
        <a:p>
          <a:endParaRPr lang="ru-RU"/>
        </a:p>
      </dgm:t>
    </dgm:pt>
    <dgm:pt modelId="{0C8A38C0-625A-421E-9DC8-A13B963F4F78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Риски снижения результатов </a:t>
          </a:r>
        </a:p>
      </dgm:t>
    </dgm:pt>
    <dgm:pt modelId="{1CBBBA55-EC84-47CA-834F-CC9301B61219}" type="parTrans" cxnId="{74BDEA6D-BCE7-4AA1-A143-EC07540327CD}">
      <dgm:prSet/>
      <dgm:spPr/>
      <dgm:t>
        <a:bodyPr/>
        <a:lstStyle/>
        <a:p>
          <a:endParaRPr lang="ru-RU"/>
        </a:p>
      </dgm:t>
    </dgm:pt>
    <dgm:pt modelId="{B4738228-DC2E-4120-81F9-FE550CE6BDAE}" type="sibTrans" cxnId="{74BDEA6D-BCE7-4AA1-A143-EC07540327CD}">
      <dgm:prSet/>
      <dgm:spPr/>
      <dgm:t>
        <a:bodyPr/>
        <a:lstStyle/>
        <a:p>
          <a:endParaRPr lang="ru-RU"/>
        </a:p>
      </dgm:t>
    </dgm:pt>
    <dgm:pt modelId="{28863E19-90CD-4EB3-8E0E-1088B08A1248}">
      <dgm:prSet/>
      <dgm:spPr>
        <a:solidFill>
          <a:srgbClr val="9999FF"/>
        </a:solidFill>
        <a:ln>
          <a:solidFill>
            <a:srgbClr val="7A70C6"/>
          </a:solidFill>
        </a:ln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Большое количество контрольных работ и мониторингов </a:t>
          </a:r>
        </a:p>
      </dgm:t>
    </dgm:pt>
    <dgm:pt modelId="{74C91205-5425-4A42-BB22-239ADDB3193F}" type="parTrans" cxnId="{844D6BDB-3760-4D39-9C12-240598FD2F5E}">
      <dgm:prSet/>
      <dgm:spPr/>
      <dgm:t>
        <a:bodyPr/>
        <a:lstStyle/>
        <a:p>
          <a:endParaRPr lang="ru-RU"/>
        </a:p>
      </dgm:t>
    </dgm:pt>
    <dgm:pt modelId="{49BB84AD-0A57-4533-8E2B-E8AD218CC4EF}" type="sibTrans" cxnId="{844D6BDB-3760-4D39-9C12-240598FD2F5E}">
      <dgm:prSet/>
      <dgm:spPr/>
      <dgm:t>
        <a:bodyPr/>
        <a:lstStyle/>
        <a:p>
          <a:endParaRPr lang="ru-RU"/>
        </a:p>
      </dgm:t>
    </dgm:pt>
    <dgm:pt modelId="{971A5FF0-6B18-4D08-866B-00D3450FA0B1}" type="pres">
      <dgm:prSet presAssocID="{135AA43A-CB1A-4AAB-9CBC-C23D67B28EA4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CD32D72-A6C2-4E07-92EF-509ACB6D6B84}" type="pres">
      <dgm:prSet presAssocID="{135AA43A-CB1A-4AAB-9CBC-C23D67B28EA4}" presName="cycle" presStyleCnt="0"/>
      <dgm:spPr/>
    </dgm:pt>
    <dgm:pt modelId="{AD76F7DA-A05C-456D-9FED-BAA7D5FA686F}" type="pres">
      <dgm:prSet presAssocID="{36376079-BA01-434B-B1B6-1D7647171A39}" presName="nodeFirst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9D7FD41-5293-4C8A-958C-2ED77A6004FF}" type="pres">
      <dgm:prSet presAssocID="{A47FF864-47EE-4DAD-8A79-1754FFF6E4B6}" presName="sibTransFirstNode" presStyleLbl="bgShp" presStyleIdx="0" presStyleCnt="1"/>
      <dgm:spPr/>
      <dgm:t>
        <a:bodyPr/>
        <a:lstStyle/>
        <a:p>
          <a:endParaRPr lang="ru-RU"/>
        </a:p>
      </dgm:t>
    </dgm:pt>
    <dgm:pt modelId="{FF9A7F4E-61A7-4165-9CDE-959383E90EE6}" type="pres">
      <dgm:prSet presAssocID="{B78396D2-1CE1-4C84-8114-3E523A2FA96B}" presName="nodeFollowingNodes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F455018-EBF4-4209-9D90-5A9A20CE0B0E}" type="pres">
      <dgm:prSet presAssocID="{307FB031-6E95-4B1C-9F67-097412E27CAB}" presName="nodeFollowingNodes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8DA06D-FD10-4DAA-80A9-3416FA1DD1C4}" type="pres">
      <dgm:prSet presAssocID="{EF0348DC-321F-49B1-BF73-A31314043953}" presName="nodeFollowingNodes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656902B-D635-442F-8465-A64FC9976F3B}" type="pres">
      <dgm:prSet presAssocID="{0C8A38C0-625A-421E-9DC8-A13B963F4F78}" presName="nodeFollowingNodes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7F211FA-77BA-41DD-8E61-FA1013089D0A}" type="pres">
      <dgm:prSet presAssocID="{28863E19-90CD-4EB3-8E0E-1088B08A1248}" presName="nodeFollowingNodes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D167D27-10E1-431D-ADED-0764D817960E}" type="presOf" srcId="{A47FF864-47EE-4DAD-8A79-1754FFF6E4B6}" destId="{C9D7FD41-5293-4C8A-958C-2ED77A6004FF}" srcOrd="0" destOrd="0" presId="urn:microsoft.com/office/officeart/2005/8/layout/cycle3"/>
    <dgm:cxn modelId="{17FF7DEE-4BDC-4C60-ADB5-93B64F90F112}" type="presOf" srcId="{0C8A38C0-625A-421E-9DC8-A13B963F4F78}" destId="{A656902B-D635-442F-8465-A64FC9976F3B}" srcOrd="0" destOrd="0" presId="urn:microsoft.com/office/officeart/2005/8/layout/cycle3"/>
    <dgm:cxn modelId="{0E1AF1CB-7001-4F99-8167-320B8C24B372}" type="presOf" srcId="{EF0348DC-321F-49B1-BF73-A31314043953}" destId="{B78DA06D-FD10-4DAA-80A9-3416FA1DD1C4}" srcOrd="0" destOrd="0" presId="urn:microsoft.com/office/officeart/2005/8/layout/cycle3"/>
    <dgm:cxn modelId="{CB99AED9-E9D0-407D-BE28-7C1A8125AC59}" srcId="{135AA43A-CB1A-4AAB-9CBC-C23D67B28EA4}" destId="{B78396D2-1CE1-4C84-8114-3E523A2FA96B}" srcOrd="1" destOrd="0" parTransId="{75CC6DC2-84BD-461F-90EF-327BD80FF570}" sibTransId="{B5EF4533-F99E-45F6-B2B5-71FF6875E469}"/>
    <dgm:cxn modelId="{108C0BD8-09EA-4A31-ABAE-647D11B851CC}" srcId="{135AA43A-CB1A-4AAB-9CBC-C23D67B28EA4}" destId="{EF0348DC-321F-49B1-BF73-A31314043953}" srcOrd="3" destOrd="0" parTransId="{3D042A4C-0590-47BE-82DF-D586F61A15B9}" sibTransId="{2566CE4F-898D-4004-AD67-8B8E23FDEB43}"/>
    <dgm:cxn modelId="{486C0B97-DBF1-4F61-B08D-FBFF983E5CAD}" srcId="{135AA43A-CB1A-4AAB-9CBC-C23D67B28EA4}" destId="{307FB031-6E95-4B1C-9F67-097412E27CAB}" srcOrd="2" destOrd="0" parTransId="{AE942A54-A7FD-4165-8BE4-A83A2D4C822E}" sibTransId="{FA85DA6C-F354-402F-ABDB-E2AAC1B62246}"/>
    <dgm:cxn modelId="{74BDEA6D-BCE7-4AA1-A143-EC07540327CD}" srcId="{135AA43A-CB1A-4AAB-9CBC-C23D67B28EA4}" destId="{0C8A38C0-625A-421E-9DC8-A13B963F4F78}" srcOrd="4" destOrd="0" parTransId="{1CBBBA55-EC84-47CA-834F-CC9301B61219}" sibTransId="{B4738228-DC2E-4120-81F9-FE550CE6BDAE}"/>
    <dgm:cxn modelId="{DB7CD577-4297-4E4A-8C63-EA96AA3296F8}" type="presOf" srcId="{B78396D2-1CE1-4C84-8114-3E523A2FA96B}" destId="{FF9A7F4E-61A7-4165-9CDE-959383E90EE6}" srcOrd="0" destOrd="0" presId="urn:microsoft.com/office/officeart/2005/8/layout/cycle3"/>
    <dgm:cxn modelId="{1119123A-C034-485E-91AB-BD7F9E70453A}" type="presOf" srcId="{307FB031-6E95-4B1C-9F67-097412E27CAB}" destId="{4F455018-EBF4-4209-9D90-5A9A20CE0B0E}" srcOrd="0" destOrd="0" presId="urn:microsoft.com/office/officeart/2005/8/layout/cycle3"/>
    <dgm:cxn modelId="{844D6BDB-3760-4D39-9C12-240598FD2F5E}" srcId="{135AA43A-CB1A-4AAB-9CBC-C23D67B28EA4}" destId="{28863E19-90CD-4EB3-8E0E-1088B08A1248}" srcOrd="5" destOrd="0" parTransId="{74C91205-5425-4A42-BB22-239ADDB3193F}" sibTransId="{49BB84AD-0A57-4533-8E2B-E8AD218CC4EF}"/>
    <dgm:cxn modelId="{0D845652-92E4-4FD3-8EB4-124F60BCBF0F}" type="presOf" srcId="{135AA43A-CB1A-4AAB-9CBC-C23D67B28EA4}" destId="{971A5FF0-6B18-4D08-866B-00D3450FA0B1}" srcOrd="0" destOrd="0" presId="urn:microsoft.com/office/officeart/2005/8/layout/cycle3"/>
    <dgm:cxn modelId="{9D1075D6-53E4-4C6D-8EDF-35C1B23CCB0B}" type="presOf" srcId="{28863E19-90CD-4EB3-8E0E-1088B08A1248}" destId="{97F211FA-77BA-41DD-8E61-FA1013089D0A}" srcOrd="0" destOrd="0" presId="urn:microsoft.com/office/officeart/2005/8/layout/cycle3"/>
    <dgm:cxn modelId="{EEEC0D76-E4D4-49EE-B823-2FBB68241AB2}" type="presOf" srcId="{36376079-BA01-434B-B1B6-1D7647171A39}" destId="{AD76F7DA-A05C-456D-9FED-BAA7D5FA686F}" srcOrd="0" destOrd="0" presId="urn:microsoft.com/office/officeart/2005/8/layout/cycle3"/>
    <dgm:cxn modelId="{1F9E5C0D-C448-4E3C-B9B3-4B2E4BA50135}" srcId="{135AA43A-CB1A-4AAB-9CBC-C23D67B28EA4}" destId="{36376079-BA01-434B-B1B6-1D7647171A39}" srcOrd="0" destOrd="0" parTransId="{E751C3BE-48A5-47E8-A70D-106C3230226F}" sibTransId="{A47FF864-47EE-4DAD-8A79-1754FFF6E4B6}"/>
    <dgm:cxn modelId="{9BBF81A4-536B-4BCF-A121-88449153B2A7}" type="presParOf" srcId="{971A5FF0-6B18-4D08-866B-00D3450FA0B1}" destId="{5CD32D72-A6C2-4E07-92EF-509ACB6D6B84}" srcOrd="0" destOrd="0" presId="urn:microsoft.com/office/officeart/2005/8/layout/cycle3"/>
    <dgm:cxn modelId="{1A032D25-4D17-4960-A39B-09431A7586D9}" type="presParOf" srcId="{5CD32D72-A6C2-4E07-92EF-509ACB6D6B84}" destId="{AD76F7DA-A05C-456D-9FED-BAA7D5FA686F}" srcOrd="0" destOrd="0" presId="urn:microsoft.com/office/officeart/2005/8/layout/cycle3"/>
    <dgm:cxn modelId="{D2EED499-DC9E-44AE-A546-3621DF32C3DC}" type="presParOf" srcId="{5CD32D72-A6C2-4E07-92EF-509ACB6D6B84}" destId="{C9D7FD41-5293-4C8A-958C-2ED77A6004FF}" srcOrd="1" destOrd="0" presId="urn:microsoft.com/office/officeart/2005/8/layout/cycle3"/>
    <dgm:cxn modelId="{BB423AB7-EB32-4193-AAC1-526BB70C0B24}" type="presParOf" srcId="{5CD32D72-A6C2-4E07-92EF-509ACB6D6B84}" destId="{FF9A7F4E-61A7-4165-9CDE-959383E90EE6}" srcOrd="2" destOrd="0" presId="urn:microsoft.com/office/officeart/2005/8/layout/cycle3"/>
    <dgm:cxn modelId="{5967D318-4F4E-4C1B-88C9-6F86AB029796}" type="presParOf" srcId="{5CD32D72-A6C2-4E07-92EF-509ACB6D6B84}" destId="{4F455018-EBF4-4209-9D90-5A9A20CE0B0E}" srcOrd="3" destOrd="0" presId="urn:microsoft.com/office/officeart/2005/8/layout/cycle3"/>
    <dgm:cxn modelId="{94FDAC7F-7501-430D-86EF-31B53FC97C7C}" type="presParOf" srcId="{5CD32D72-A6C2-4E07-92EF-509ACB6D6B84}" destId="{B78DA06D-FD10-4DAA-80A9-3416FA1DD1C4}" srcOrd="4" destOrd="0" presId="urn:microsoft.com/office/officeart/2005/8/layout/cycle3"/>
    <dgm:cxn modelId="{B58D135E-91F1-45E3-B889-58F7FDF788EA}" type="presParOf" srcId="{5CD32D72-A6C2-4E07-92EF-509ACB6D6B84}" destId="{A656902B-D635-442F-8465-A64FC9976F3B}" srcOrd="5" destOrd="0" presId="urn:microsoft.com/office/officeart/2005/8/layout/cycle3"/>
    <dgm:cxn modelId="{7F191870-A994-4C3A-8B0C-0E7D726857F2}" type="presParOf" srcId="{5CD32D72-A6C2-4E07-92EF-509ACB6D6B84}" destId="{97F211FA-77BA-41DD-8E61-FA1013089D0A}" srcOrd="6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91D4ED7-4C30-46FA-9A3D-A9F40B2930AA}" type="doc">
      <dgm:prSet loTypeId="urn:microsoft.com/office/officeart/2005/8/layout/defaul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30B60826-C3E8-4942-8242-3A9749C03027}">
      <dgm:prSet phldrT="[Текст]"/>
      <dgm:spPr/>
      <dgm:t>
        <a:bodyPr/>
        <a:lstStyle/>
        <a:p>
          <a:r>
            <a:rPr lang="ru-RU" dirty="0"/>
            <a:t>Приняты поправки в закон «Об образовании»  </a:t>
          </a:r>
        </a:p>
      </dgm:t>
    </dgm:pt>
    <dgm:pt modelId="{7F2264F9-0828-483C-BCDC-B2F35F1B85AB}" type="parTrans" cxnId="{54FE79D1-1CD5-48BB-9B10-3CED72AF4E69}">
      <dgm:prSet/>
      <dgm:spPr/>
      <dgm:t>
        <a:bodyPr/>
        <a:lstStyle/>
        <a:p>
          <a:endParaRPr lang="ru-RU"/>
        </a:p>
      </dgm:t>
    </dgm:pt>
    <dgm:pt modelId="{F9C2C790-127A-4383-A7A3-5B1B97ABE935}" type="sibTrans" cxnId="{54FE79D1-1CD5-48BB-9B10-3CED72AF4E69}">
      <dgm:prSet/>
      <dgm:spPr/>
      <dgm:t>
        <a:bodyPr/>
        <a:lstStyle/>
        <a:p>
          <a:endParaRPr lang="ru-RU"/>
        </a:p>
      </dgm:t>
    </dgm:pt>
    <dgm:pt modelId="{295DC994-39C0-4197-9645-9C181401B51F}">
      <dgm:prSet phldrT="[Текст]"/>
      <dgm:spPr/>
      <dgm:t>
        <a:bodyPr/>
        <a:lstStyle/>
        <a:p>
          <a:r>
            <a:rPr lang="ru-RU" dirty="0"/>
            <a:t>Издан приказ Минпросвещения России</a:t>
          </a:r>
        </a:p>
      </dgm:t>
    </dgm:pt>
    <dgm:pt modelId="{45C9D70D-F98D-4814-938C-8D3D440F7AC2}" type="parTrans" cxnId="{EBB6C7D7-1E1D-4018-B193-C3A00D4EEC00}">
      <dgm:prSet/>
      <dgm:spPr/>
      <dgm:t>
        <a:bodyPr/>
        <a:lstStyle/>
        <a:p>
          <a:endParaRPr lang="ru-RU"/>
        </a:p>
      </dgm:t>
    </dgm:pt>
    <dgm:pt modelId="{77EBB60F-66A3-43B5-B15E-FF9B69F84385}" type="sibTrans" cxnId="{EBB6C7D7-1E1D-4018-B193-C3A00D4EEC00}">
      <dgm:prSet/>
      <dgm:spPr/>
      <dgm:t>
        <a:bodyPr/>
        <a:lstStyle/>
        <a:p>
          <a:endParaRPr lang="ru-RU"/>
        </a:p>
      </dgm:t>
    </dgm:pt>
    <dgm:pt modelId="{557D4FF4-0F09-4FF7-8BD4-4B48CEB75C7E}">
      <dgm:prSet phldrT="[Текст]"/>
      <dgm:spPr/>
      <dgm:t>
        <a:bodyPr/>
        <a:lstStyle/>
        <a:p>
          <a:r>
            <a:rPr lang="ru-RU" dirty="0"/>
            <a:t>Создана федеральная «Горячая линия»</a:t>
          </a:r>
        </a:p>
      </dgm:t>
    </dgm:pt>
    <dgm:pt modelId="{AFCCB7D1-89FD-4565-808A-79E298B32BB9}" type="parTrans" cxnId="{775070AF-F7A3-4C2B-8B44-3F73CEA55761}">
      <dgm:prSet/>
      <dgm:spPr/>
      <dgm:t>
        <a:bodyPr/>
        <a:lstStyle/>
        <a:p>
          <a:endParaRPr lang="ru-RU"/>
        </a:p>
      </dgm:t>
    </dgm:pt>
    <dgm:pt modelId="{80C788C6-1C49-4678-83E5-00DD79A29B90}" type="sibTrans" cxnId="{775070AF-F7A3-4C2B-8B44-3F73CEA55761}">
      <dgm:prSet/>
      <dgm:spPr/>
      <dgm:t>
        <a:bodyPr/>
        <a:lstStyle/>
        <a:p>
          <a:endParaRPr lang="ru-RU"/>
        </a:p>
      </dgm:t>
    </dgm:pt>
    <dgm:pt modelId="{7FE886DD-AC1F-46BC-9C33-8D688CDAEE1B}">
      <dgm:prSet phldrT="[Текст]"/>
      <dgm:spPr/>
      <dgm:t>
        <a:bodyPr/>
        <a:lstStyle/>
        <a:p>
          <a:r>
            <a:rPr lang="ru-RU" dirty="0"/>
            <a:t>Ведется работа по формированию номенклатуры дел ОО и педагогов всех уровней образования </a:t>
          </a:r>
        </a:p>
      </dgm:t>
    </dgm:pt>
    <dgm:pt modelId="{26BC3042-8358-467B-9647-41EEE3547F6B}" type="parTrans" cxnId="{41CCF980-1B5B-4898-9F60-E83E797BF073}">
      <dgm:prSet/>
      <dgm:spPr/>
      <dgm:t>
        <a:bodyPr/>
        <a:lstStyle/>
        <a:p>
          <a:endParaRPr lang="ru-RU"/>
        </a:p>
      </dgm:t>
    </dgm:pt>
    <dgm:pt modelId="{8AF19842-59DF-406D-9CFD-1AED3DE34BF7}" type="sibTrans" cxnId="{41CCF980-1B5B-4898-9F60-E83E797BF073}">
      <dgm:prSet/>
      <dgm:spPr/>
      <dgm:t>
        <a:bodyPr/>
        <a:lstStyle/>
        <a:p>
          <a:endParaRPr lang="ru-RU"/>
        </a:p>
      </dgm:t>
    </dgm:pt>
    <dgm:pt modelId="{76C37517-9DFA-4205-99AE-DADEFF35838F}" type="pres">
      <dgm:prSet presAssocID="{691D4ED7-4C30-46FA-9A3D-A9F40B2930AA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73B4D39-DC01-4C8B-A110-6C992F2C33CF}" type="pres">
      <dgm:prSet presAssocID="{30B60826-C3E8-4942-8242-3A9749C03027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98DA798-58FC-4194-AF79-083C8342647B}" type="pres">
      <dgm:prSet presAssocID="{F9C2C790-127A-4383-A7A3-5B1B97ABE935}" presName="sibTrans" presStyleCnt="0"/>
      <dgm:spPr/>
    </dgm:pt>
    <dgm:pt modelId="{FEC5274F-DEDB-40A3-8CA6-A0596DBB4121}" type="pres">
      <dgm:prSet presAssocID="{295DC994-39C0-4197-9645-9C181401B51F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7277F1-B9F3-472A-A5B6-49E989588039}" type="pres">
      <dgm:prSet presAssocID="{77EBB60F-66A3-43B5-B15E-FF9B69F84385}" presName="sibTrans" presStyleCnt="0"/>
      <dgm:spPr/>
    </dgm:pt>
    <dgm:pt modelId="{3A590DF1-1274-46F6-B381-708C79BBEDCD}" type="pres">
      <dgm:prSet presAssocID="{557D4FF4-0F09-4FF7-8BD4-4B48CEB75C7E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F57026-5C27-44C0-B7D3-33DC481C9398}" type="pres">
      <dgm:prSet presAssocID="{80C788C6-1C49-4678-83E5-00DD79A29B90}" presName="sibTrans" presStyleCnt="0"/>
      <dgm:spPr/>
    </dgm:pt>
    <dgm:pt modelId="{0AD35DCA-7785-4CB9-BAB0-78DC318E56B7}" type="pres">
      <dgm:prSet presAssocID="{7FE886DD-AC1F-46BC-9C33-8D688CDAEE1B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3D618D8-CE19-48DC-B2E3-1867A52E5A88}" type="presOf" srcId="{30B60826-C3E8-4942-8242-3A9749C03027}" destId="{473B4D39-DC01-4C8B-A110-6C992F2C33CF}" srcOrd="0" destOrd="0" presId="urn:microsoft.com/office/officeart/2005/8/layout/default"/>
    <dgm:cxn modelId="{EBB6C7D7-1E1D-4018-B193-C3A00D4EEC00}" srcId="{691D4ED7-4C30-46FA-9A3D-A9F40B2930AA}" destId="{295DC994-39C0-4197-9645-9C181401B51F}" srcOrd="1" destOrd="0" parTransId="{45C9D70D-F98D-4814-938C-8D3D440F7AC2}" sibTransId="{77EBB60F-66A3-43B5-B15E-FF9B69F84385}"/>
    <dgm:cxn modelId="{F67A299A-56A6-4596-A5A2-75946F10AEDD}" type="presOf" srcId="{557D4FF4-0F09-4FF7-8BD4-4B48CEB75C7E}" destId="{3A590DF1-1274-46F6-B381-708C79BBEDCD}" srcOrd="0" destOrd="0" presId="urn:microsoft.com/office/officeart/2005/8/layout/default"/>
    <dgm:cxn modelId="{41CCF980-1B5B-4898-9F60-E83E797BF073}" srcId="{691D4ED7-4C30-46FA-9A3D-A9F40B2930AA}" destId="{7FE886DD-AC1F-46BC-9C33-8D688CDAEE1B}" srcOrd="3" destOrd="0" parTransId="{26BC3042-8358-467B-9647-41EEE3547F6B}" sibTransId="{8AF19842-59DF-406D-9CFD-1AED3DE34BF7}"/>
    <dgm:cxn modelId="{54FE79D1-1CD5-48BB-9B10-3CED72AF4E69}" srcId="{691D4ED7-4C30-46FA-9A3D-A9F40B2930AA}" destId="{30B60826-C3E8-4942-8242-3A9749C03027}" srcOrd="0" destOrd="0" parTransId="{7F2264F9-0828-483C-BCDC-B2F35F1B85AB}" sibTransId="{F9C2C790-127A-4383-A7A3-5B1B97ABE935}"/>
    <dgm:cxn modelId="{1D4E7A5F-C319-4B02-A572-C3082A74EB96}" type="presOf" srcId="{7FE886DD-AC1F-46BC-9C33-8D688CDAEE1B}" destId="{0AD35DCA-7785-4CB9-BAB0-78DC318E56B7}" srcOrd="0" destOrd="0" presId="urn:microsoft.com/office/officeart/2005/8/layout/default"/>
    <dgm:cxn modelId="{7B10EF41-389B-4728-8295-032F21E46029}" type="presOf" srcId="{691D4ED7-4C30-46FA-9A3D-A9F40B2930AA}" destId="{76C37517-9DFA-4205-99AE-DADEFF35838F}" srcOrd="0" destOrd="0" presId="urn:microsoft.com/office/officeart/2005/8/layout/default"/>
    <dgm:cxn modelId="{96D82C85-351E-471B-ABDA-D8571841AEAE}" type="presOf" srcId="{295DC994-39C0-4197-9645-9C181401B51F}" destId="{FEC5274F-DEDB-40A3-8CA6-A0596DBB4121}" srcOrd="0" destOrd="0" presId="urn:microsoft.com/office/officeart/2005/8/layout/default"/>
    <dgm:cxn modelId="{775070AF-F7A3-4C2B-8B44-3F73CEA55761}" srcId="{691D4ED7-4C30-46FA-9A3D-A9F40B2930AA}" destId="{557D4FF4-0F09-4FF7-8BD4-4B48CEB75C7E}" srcOrd="2" destOrd="0" parTransId="{AFCCB7D1-89FD-4565-808A-79E298B32BB9}" sibTransId="{80C788C6-1C49-4678-83E5-00DD79A29B90}"/>
    <dgm:cxn modelId="{B7D8A436-106C-4C65-BFFB-F7437F9E9358}" type="presParOf" srcId="{76C37517-9DFA-4205-99AE-DADEFF35838F}" destId="{473B4D39-DC01-4C8B-A110-6C992F2C33CF}" srcOrd="0" destOrd="0" presId="urn:microsoft.com/office/officeart/2005/8/layout/default"/>
    <dgm:cxn modelId="{5B04D7E9-7F82-4723-9C0D-FDC6A6CCDCAE}" type="presParOf" srcId="{76C37517-9DFA-4205-99AE-DADEFF35838F}" destId="{098DA798-58FC-4194-AF79-083C8342647B}" srcOrd="1" destOrd="0" presId="urn:microsoft.com/office/officeart/2005/8/layout/default"/>
    <dgm:cxn modelId="{1F6ED14A-F128-4304-82D9-AF51373E65FE}" type="presParOf" srcId="{76C37517-9DFA-4205-99AE-DADEFF35838F}" destId="{FEC5274F-DEDB-40A3-8CA6-A0596DBB4121}" srcOrd="2" destOrd="0" presId="urn:microsoft.com/office/officeart/2005/8/layout/default"/>
    <dgm:cxn modelId="{7CD6DA7E-A150-48F4-9E41-861A0F1FA289}" type="presParOf" srcId="{76C37517-9DFA-4205-99AE-DADEFF35838F}" destId="{927277F1-B9F3-472A-A5B6-49E989588039}" srcOrd="3" destOrd="0" presId="urn:microsoft.com/office/officeart/2005/8/layout/default"/>
    <dgm:cxn modelId="{F56F9518-6641-4DF3-B061-9F311B02853D}" type="presParOf" srcId="{76C37517-9DFA-4205-99AE-DADEFF35838F}" destId="{3A590DF1-1274-46F6-B381-708C79BBEDCD}" srcOrd="4" destOrd="0" presId="urn:microsoft.com/office/officeart/2005/8/layout/default"/>
    <dgm:cxn modelId="{895EA743-BBB7-4543-A01F-A56F49AE5D5A}" type="presParOf" srcId="{76C37517-9DFA-4205-99AE-DADEFF35838F}" destId="{F3F57026-5C27-44C0-B7D3-33DC481C9398}" srcOrd="5" destOrd="0" presId="urn:microsoft.com/office/officeart/2005/8/layout/default"/>
    <dgm:cxn modelId="{C510FD89-6FA2-4A34-B742-2380869FC272}" type="presParOf" srcId="{76C37517-9DFA-4205-99AE-DADEFF35838F}" destId="{0AD35DCA-7785-4CB9-BAB0-78DC318E56B7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D83C9C2F-465C-41C4-8D1B-DED57E5B86C2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35E2E20-788F-428E-A5F7-07F3ABE4E67B}">
      <dgm:prSet phldrT="[Текст]"/>
      <dgm:spPr>
        <a:solidFill>
          <a:srgbClr val="565087"/>
        </a:solidFill>
      </dgm:spPr>
      <dgm:t>
        <a:bodyPr/>
        <a:lstStyle/>
        <a:p>
          <a:r>
            <a:rPr lang="ru-RU" dirty="0"/>
            <a:t>Региональный уровень </a:t>
          </a:r>
        </a:p>
      </dgm:t>
    </dgm:pt>
    <dgm:pt modelId="{DBBEB459-D044-4DEC-A62C-932CC0429798}" type="parTrans" cxnId="{47FFE739-D21B-4F53-B95E-5CB8C6D72AA5}">
      <dgm:prSet/>
      <dgm:spPr/>
      <dgm:t>
        <a:bodyPr/>
        <a:lstStyle/>
        <a:p>
          <a:endParaRPr lang="ru-RU"/>
        </a:p>
      </dgm:t>
    </dgm:pt>
    <dgm:pt modelId="{34688FD2-9417-4711-80B5-913E6B7723DA}" type="sibTrans" cxnId="{47FFE739-D21B-4F53-B95E-5CB8C6D72AA5}">
      <dgm:prSet/>
      <dgm:spPr/>
      <dgm:t>
        <a:bodyPr/>
        <a:lstStyle/>
        <a:p>
          <a:endParaRPr lang="ru-RU"/>
        </a:p>
      </dgm:t>
    </dgm:pt>
    <dgm:pt modelId="{9B25C8FB-26A1-4623-8CC0-42B614229EAC}">
      <dgm:prSet phldrT="[Текст]"/>
      <dgm:spPr/>
      <dgm:t>
        <a:bodyPr/>
        <a:lstStyle/>
        <a:p>
          <a:r>
            <a:rPr lang="ru-RU" dirty="0"/>
            <a:t>Приказ о назначении ответственных за исполнение новой нормы 273 ФЗ</a:t>
          </a:r>
        </a:p>
      </dgm:t>
    </dgm:pt>
    <dgm:pt modelId="{C91F85DB-4160-49A1-909E-5DA8F8754976}" type="parTrans" cxnId="{AB47B672-AD2A-48F3-BF0B-D6EC6851ACDE}">
      <dgm:prSet/>
      <dgm:spPr/>
      <dgm:t>
        <a:bodyPr/>
        <a:lstStyle/>
        <a:p>
          <a:endParaRPr lang="ru-RU"/>
        </a:p>
      </dgm:t>
    </dgm:pt>
    <dgm:pt modelId="{3E3AE17C-78C1-42FC-9236-AAEEFB7D966B}" type="sibTrans" cxnId="{AB47B672-AD2A-48F3-BF0B-D6EC6851ACDE}">
      <dgm:prSet/>
      <dgm:spPr/>
      <dgm:t>
        <a:bodyPr/>
        <a:lstStyle/>
        <a:p>
          <a:endParaRPr lang="ru-RU"/>
        </a:p>
      </dgm:t>
    </dgm:pt>
    <dgm:pt modelId="{3CB687A2-9013-45C9-BC5B-69D48F95A26B}">
      <dgm:prSet phldrT="[Текст]"/>
      <dgm:spPr/>
      <dgm:t>
        <a:bodyPr/>
        <a:lstStyle/>
        <a:p>
          <a:r>
            <a:rPr lang="ru-RU" dirty="0"/>
            <a:t>Положение об электронной системе образования </a:t>
          </a:r>
        </a:p>
      </dgm:t>
    </dgm:pt>
    <dgm:pt modelId="{C9E22D09-B899-440D-BCD1-D41431A86CC5}" type="parTrans" cxnId="{DA9615B4-6B04-41A3-9738-35FDCDD28991}">
      <dgm:prSet/>
      <dgm:spPr/>
      <dgm:t>
        <a:bodyPr/>
        <a:lstStyle/>
        <a:p>
          <a:endParaRPr lang="ru-RU"/>
        </a:p>
      </dgm:t>
    </dgm:pt>
    <dgm:pt modelId="{A92867CD-2D75-4B4B-B905-8D2DCAC402B4}" type="sibTrans" cxnId="{DA9615B4-6B04-41A3-9738-35FDCDD28991}">
      <dgm:prSet/>
      <dgm:spPr/>
      <dgm:t>
        <a:bodyPr/>
        <a:lstStyle/>
        <a:p>
          <a:endParaRPr lang="ru-RU"/>
        </a:p>
      </dgm:t>
    </dgm:pt>
    <dgm:pt modelId="{CE3379E0-BEDC-4DBA-8E03-0BAA524E5185}">
      <dgm:prSet phldrT="[Текст]"/>
      <dgm:spPr>
        <a:solidFill>
          <a:srgbClr val="565087"/>
        </a:solidFill>
      </dgm:spPr>
      <dgm:t>
        <a:bodyPr/>
        <a:lstStyle/>
        <a:p>
          <a:r>
            <a:rPr lang="ru-RU" dirty="0"/>
            <a:t>Локальный уровень </a:t>
          </a:r>
        </a:p>
      </dgm:t>
    </dgm:pt>
    <dgm:pt modelId="{83768D33-9723-4D71-BD68-C833F231C558}" type="parTrans" cxnId="{25DCC187-DAE1-493A-99BC-469A8B2EB083}">
      <dgm:prSet/>
      <dgm:spPr/>
      <dgm:t>
        <a:bodyPr/>
        <a:lstStyle/>
        <a:p>
          <a:endParaRPr lang="ru-RU"/>
        </a:p>
      </dgm:t>
    </dgm:pt>
    <dgm:pt modelId="{84ED15E9-57F4-47EB-A535-A15BE738E548}" type="sibTrans" cxnId="{25DCC187-DAE1-493A-99BC-469A8B2EB083}">
      <dgm:prSet/>
      <dgm:spPr/>
      <dgm:t>
        <a:bodyPr/>
        <a:lstStyle/>
        <a:p>
          <a:endParaRPr lang="ru-RU"/>
        </a:p>
      </dgm:t>
    </dgm:pt>
    <dgm:pt modelId="{B16C9B7C-8513-43FB-BA79-565DBAC8039C}">
      <dgm:prSet phldrT="[Текст]"/>
      <dgm:spPr/>
      <dgm:t>
        <a:bodyPr/>
        <a:lstStyle/>
        <a:p>
          <a:r>
            <a:rPr lang="ru-RU" dirty="0"/>
            <a:t>Правила</a:t>
          </a:r>
          <a:r>
            <a:rPr lang="ru-RU" baseline="0" dirty="0"/>
            <a:t> внутреннего распорядка </a:t>
          </a:r>
          <a:endParaRPr lang="ru-RU" dirty="0"/>
        </a:p>
      </dgm:t>
    </dgm:pt>
    <dgm:pt modelId="{05621AB2-F888-4036-9E17-7F574605A079}" type="parTrans" cxnId="{5095DF8B-A3F5-46AE-8262-A90C1BD14006}">
      <dgm:prSet/>
      <dgm:spPr/>
      <dgm:t>
        <a:bodyPr/>
        <a:lstStyle/>
        <a:p>
          <a:endParaRPr lang="ru-RU"/>
        </a:p>
      </dgm:t>
    </dgm:pt>
    <dgm:pt modelId="{56867524-D42F-47EC-84C7-EF4CA56F9343}" type="sibTrans" cxnId="{5095DF8B-A3F5-46AE-8262-A90C1BD14006}">
      <dgm:prSet/>
      <dgm:spPr/>
      <dgm:t>
        <a:bodyPr/>
        <a:lstStyle/>
        <a:p>
          <a:endParaRPr lang="ru-RU"/>
        </a:p>
      </dgm:t>
    </dgm:pt>
    <dgm:pt modelId="{A379535B-1ADC-4AF4-A150-26A53B170DD7}">
      <dgm:prSet phldrT="[Текст]"/>
      <dgm:spPr/>
      <dgm:t>
        <a:bodyPr/>
        <a:lstStyle/>
        <a:p>
          <a:r>
            <a:rPr lang="ru-RU" dirty="0"/>
            <a:t>Должностные инструкции учителя и классного руководителя </a:t>
          </a:r>
        </a:p>
      </dgm:t>
    </dgm:pt>
    <dgm:pt modelId="{F4FDC129-B6B9-47DF-BEA8-64E4A1245D01}" type="parTrans" cxnId="{34644C82-FEEC-4B22-B4EC-385941AF040C}">
      <dgm:prSet/>
      <dgm:spPr/>
      <dgm:t>
        <a:bodyPr/>
        <a:lstStyle/>
        <a:p>
          <a:endParaRPr lang="ru-RU"/>
        </a:p>
      </dgm:t>
    </dgm:pt>
    <dgm:pt modelId="{4C1C97D9-7D72-4379-96FF-9E22D82BE26A}" type="sibTrans" cxnId="{34644C82-FEEC-4B22-B4EC-385941AF040C}">
      <dgm:prSet/>
      <dgm:spPr/>
      <dgm:t>
        <a:bodyPr/>
        <a:lstStyle/>
        <a:p>
          <a:endParaRPr lang="ru-RU"/>
        </a:p>
      </dgm:t>
    </dgm:pt>
    <dgm:pt modelId="{DDD638F9-3C0D-4CE4-B1EC-437D357CC03F}">
      <dgm:prSet/>
      <dgm:spPr/>
      <dgm:t>
        <a:bodyPr/>
        <a:lstStyle/>
        <a:p>
          <a:r>
            <a:rPr lang="ru-RU" dirty="0"/>
            <a:t>Положение об электронном журнале </a:t>
          </a:r>
        </a:p>
      </dgm:t>
    </dgm:pt>
    <dgm:pt modelId="{C1BB2156-12CD-4D66-8F88-F8590B862DE9}" type="parTrans" cxnId="{46E2A4C6-B6BF-4380-BDF6-EB23528B7056}">
      <dgm:prSet/>
      <dgm:spPr/>
      <dgm:t>
        <a:bodyPr/>
        <a:lstStyle/>
        <a:p>
          <a:endParaRPr lang="ru-RU"/>
        </a:p>
      </dgm:t>
    </dgm:pt>
    <dgm:pt modelId="{C8BE519C-9092-497E-9D81-227F7AFB2968}" type="sibTrans" cxnId="{46E2A4C6-B6BF-4380-BDF6-EB23528B7056}">
      <dgm:prSet/>
      <dgm:spPr/>
      <dgm:t>
        <a:bodyPr/>
        <a:lstStyle/>
        <a:p>
          <a:endParaRPr lang="ru-RU"/>
        </a:p>
      </dgm:t>
    </dgm:pt>
    <dgm:pt modelId="{EC1C4743-AE1F-44EE-BF92-1794D4E4358D}">
      <dgm:prSet/>
      <dgm:spPr/>
      <dgm:t>
        <a:bodyPr/>
        <a:lstStyle/>
        <a:p>
          <a:r>
            <a:rPr lang="ru-RU" dirty="0"/>
            <a:t>Методика КНД за соблюдением законодательства в части снижения документационной нагрузки педагогических работников   </a:t>
          </a:r>
        </a:p>
      </dgm:t>
    </dgm:pt>
    <dgm:pt modelId="{47F0EB99-DE39-44B6-8E8E-F5106AAC4F97}" type="parTrans" cxnId="{90E60A50-D941-4AA0-8ACF-AED2D0245479}">
      <dgm:prSet/>
      <dgm:spPr/>
      <dgm:t>
        <a:bodyPr/>
        <a:lstStyle/>
        <a:p>
          <a:endParaRPr lang="ru-RU"/>
        </a:p>
      </dgm:t>
    </dgm:pt>
    <dgm:pt modelId="{6EA27382-A59A-4AF9-8AE3-F6B3035B037D}" type="sibTrans" cxnId="{90E60A50-D941-4AA0-8ACF-AED2D0245479}">
      <dgm:prSet/>
      <dgm:spPr/>
      <dgm:t>
        <a:bodyPr/>
        <a:lstStyle/>
        <a:p>
          <a:endParaRPr lang="ru-RU"/>
        </a:p>
      </dgm:t>
    </dgm:pt>
    <dgm:pt modelId="{7F581A65-80A2-498B-B3A7-709E374B770A}">
      <dgm:prSet/>
      <dgm:spPr/>
      <dgm:t>
        <a:bodyPr/>
        <a:lstStyle/>
        <a:p>
          <a:r>
            <a:rPr lang="ru-RU" dirty="0"/>
            <a:t>Приказ о назначении ответственных за исполнение новой нормы 273 ФЗ</a:t>
          </a:r>
        </a:p>
      </dgm:t>
    </dgm:pt>
    <dgm:pt modelId="{FA551FFA-4F27-4834-8732-FCFE411BAAAD}" type="parTrans" cxnId="{CC53E7DF-969A-4E3A-801B-838B23E21E66}">
      <dgm:prSet/>
      <dgm:spPr/>
      <dgm:t>
        <a:bodyPr/>
        <a:lstStyle/>
        <a:p>
          <a:endParaRPr lang="ru-RU"/>
        </a:p>
      </dgm:t>
    </dgm:pt>
    <dgm:pt modelId="{11DF7E23-A224-42F0-8986-0EC5F790AAF5}" type="sibTrans" cxnId="{CC53E7DF-969A-4E3A-801B-838B23E21E66}">
      <dgm:prSet/>
      <dgm:spPr/>
      <dgm:t>
        <a:bodyPr/>
        <a:lstStyle/>
        <a:p>
          <a:endParaRPr lang="ru-RU"/>
        </a:p>
      </dgm:t>
    </dgm:pt>
    <dgm:pt modelId="{D01F07D0-5036-4B28-9E67-408379B91B67}">
      <dgm:prSet/>
      <dgm:spPr/>
      <dgm:t>
        <a:bodyPr/>
        <a:lstStyle/>
        <a:p>
          <a:r>
            <a:rPr lang="ru-RU" dirty="0"/>
            <a:t>Положение о классном руководстве </a:t>
          </a:r>
        </a:p>
      </dgm:t>
    </dgm:pt>
    <dgm:pt modelId="{57EE8A7E-73FC-4CC6-8DD0-FF0AB4A1D4B9}" type="parTrans" cxnId="{407FE146-52A7-4CAF-AE00-45697F0E01AA}">
      <dgm:prSet/>
      <dgm:spPr/>
      <dgm:t>
        <a:bodyPr/>
        <a:lstStyle/>
        <a:p>
          <a:endParaRPr lang="ru-RU"/>
        </a:p>
      </dgm:t>
    </dgm:pt>
    <dgm:pt modelId="{CC913BC1-10D0-496C-AA33-90B5F578C394}" type="sibTrans" cxnId="{407FE146-52A7-4CAF-AE00-45697F0E01AA}">
      <dgm:prSet/>
      <dgm:spPr/>
      <dgm:t>
        <a:bodyPr/>
        <a:lstStyle/>
        <a:p>
          <a:endParaRPr lang="ru-RU"/>
        </a:p>
      </dgm:t>
    </dgm:pt>
    <dgm:pt modelId="{F82F4A40-07E4-4294-90D5-64F21AD9296A}">
      <dgm:prSet/>
      <dgm:spPr/>
      <dgm:t>
        <a:bodyPr/>
        <a:lstStyle/>
        <a:p>
          <a:r>
            <a:rPr lang="ru-RU" dirty="0"/>
            <a:t>Инструкция о делопроизводстве </a:t>
          </a:r>
        </a:p>
      </dgm:t>
    </dgm:pt>
    <dgm:pt modelId="{DEE2784C-B448-4829-90DA-272CDADF9A52}" type="parTrans" cxnId="{1C9A8687-58B4-452C-913E-9BC1B31E2364}">
      <dgm:prSet/>
      <dgm:spPr/>
      <dgm:t>
        <a:bodyPr/>
        <a:lstStyle/>
        <a:p>
          <a:endParaRPr lang="ru-RU"/>
        </a:p>
      </dgm:t>
    </dgm:pt>
    <dgm:pt modelId="{D6FD913B-AB0C-4719-84C1-E976B679F81B}" type="sibTrans" cxnId="{1C9A8687-58B4-452C-913E-9BC1B31E2364}">
      <dgm:prSet/>
      <dgm:spPr/>
      <dgm:t>
        <a:bodyPr/>
        <a:lstStyle/>
        <a:p>
          <a:endParaRPr lang="ru-RU"/>
        </a:p>
      </dgm:t>
    </dgm:pt>
    <dgm:pt modelId="{87605C0D-0A25-41AB-B975-25C5FD916951}">
      <dgm:prSet/>
      <dgm:spPr/>
      <dgm:t>
        <a:bodyPr/>
        <a:lstStyle/>
        <a:p>
          <a:r>
            <a:rPr lang="ru-RU" dirty="0"/>
            <a:t>Инструкция о делопроизводстве </a:t>
          </a:r>
        </a:p>
      </dgm:t>
    </dgm:pt>
    <dgm:pt modelId="{66DE5EAD-4699-4A55-8315-DB0124E773D8}" type="parTrans" cxnId="{D4E7F0CD-113D-4C3A-9C3C-6AFED7A2051E}">
      <dgm:prSet/>
      <dgm:spPr/>
      <dgm:t>
        <a:bodyPr/>
        <a:lstStyle/>
        <a:p>
          <a:endParaRPr lang="ru-RU"/>
        </a:p>
      </dgm:t>
    </dgm:pt>
    <dgm:pt modelId="{34FCAA58-BA01-495A-B191-8A22910FBDA9}" type="sibTrans" cxnId="{D4E7F0CD-113D-4C3A-9C3C-6AFED7A2051E}">
      <dgm:prSet/>
      <dgm:spPr/>
      <dgm:t>
        <a:bodyPr/>
        <a:lstStyle/>
        <a:p>
          <a:endParaRPr lang="ru-RU"/>
        </a:p>
      </dgm:t>
    </dgm:pt>
    <dgm:pt modelId="{4A598A72-BB67-41A2-8564-13C0892D54DA}" type="pres">
      <dgm:prSet presAssocID="{D83C9C2F-465C-41C4-8D1B-DED57E5B86C2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EFE99EFC-9A9A-4E38-8915-D134F3D08FB8}" type="pres">
      <dgm:prSet presAssocID="{335E2E20-788F-428E-A5F7-07F3ABE4E67B}" presName="root" presStyleCnt="0"/>
      <dgm:spPr/>
    </dgm:pt>
    <dgm:pt modelId="{A897CFFF-8374-4B50-ADFF-8BCB1615F2A7}" type="pres">
      <dgm:prSet presAssocID="{335E2E20-788F-428E-A5F7-07F3ABE4E67B}" presName="rootComposite" presStyleCnt="0"/>
      <dgm:spPr/>
    </dgm:pt>
    <dgm:pt modelId="{2459EDF2-E36A-4609-B608-D35949D433E3}" type="pres">
      <dgm:prSet presAssocID="{335E2E20-788F-428E-A5F7-07F3ABE4E67B}" presName="rootText" presStyleLbl="node1" presStyleIdx="0" presStyleCnt="2" custScaleX="306180"/>
      <dgm:spPr/>
      <dgm:t>
        <a:bodyPr/>
        <a:lstStyle/>
        <a:p>
          <a:endParaRPr lang="ru-RU"/>
        </a:p>
      </dgm:t>
    </dgm:pt>
    <dgm:pt modelId="{31A068BB-DF44-4A67-90E8-4A6094B88C42}" type="pres">
      <dgm:prSet presAssocID="{335E2E20-788F-428E-A5F7-07F3ABE4E67B}" presName="rootConnector" presStyleLbl="node1" presStyleIdx="0" presStyleCnt="2"/>
      <dgm:spPr/>
      <dgm:t>
        <a:bodyPr/>
        <a:lstStyle/>
        <a:p>
          <a:endParaRPr lang="ru-RU"/>
        </a:p>
      </dgm:t>
    </dgm:pt>
    <dgm:pt modelId="{68D03094-420F-4A8D-9BF8-346189C48A9D}" type="pres">
      <dgm:prSet presAssocID="{335E2E20-788F-428E-A5F7-07F3ABE4E67B}" presName="childShape" presStyleCnt="0"/>
      <dgm:spPr/>
    </dgm:pt>
    <dgm:pt modelId="{5A81519D-C365-46CF-AEC4-066DA815C1F0}" type="pres">
      <dgm:prSet presAssocID="{C91F85DB-4160-49A1-909E-5DA8F8754976}" presName="Name13" presStyleLbl="parChTrans1D2" presStyleIdx="0" presStyleCnt="10"/>
      <dgm:spPr/>
      <dgm:t>
        <a:bodyPr/>
        <a:lstStyle/>
        <a:p>
          <a:endParaRPr lang="ru-RU"/>
        </a:p>
      </dgm:t>
    </dgm:pt>
    <dgm:pt modelId="{103B1E13-0EA2-441D-915F-B83043A84146}" type="pres">
      <dgm:prSet presAssocID="{9B25C8FB-26A1-4623-8CC0-42B614229EAC}" presName="childText" presStyleLbl="bgAcc1" presStyleIdx="0" presStyleCnt="10" custScaleX="31434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9368E99-E683-4EF3-8F1E-C1973971342A}" type="pres">
      <dgm:prSet presAssocID="{DEE2784C-B448-4829-90DA-272CDADF9A52}" presName="Name13" presStyleLbl="parChTrans1D2" presStyleIdx="1" presStyleCnt="10"/>
      <dgm:spPr/>
      <dgm:t>
        <a:bodyPr/>
        <a:lstStyle/>
        <a:p>
          <a:endParaRPr lang="ru-RU"/>
        </a:p>
      </dgm:t>
    </dgm:pt>
    <dgm:pt modelId="{187374BC-F057-4D05-A72B-AE74ECF607F0}" type="pres">
      <dgm:prSet presAssocID="{F82F4A40-07E4-4294-90D5-64F21AD9296A}" presName="childText" presStyleLbl="bgAcc1" presStyleIdx="1" presStyleCnt="10" custScaleX="31467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56AC208-F62C-4857-87F9-FDDE87D52416}" type="pres">
      <dgm:prSet presAssocID="{C9E22D09-B899-440D-BCD1-D41431A86CC5}" presName="Name13" presStyleLbl="parChTrans1D2" presStyleIdx="2" presStyleCnt="10"/>
      <dgm:spPr/>
      <dgm:t>
        <a:bodyPr/>
        <a:lstStyle/>
        <a:p>
          <a:endParaRPr lang="ru-RU"/>
        </a:p>
      </dgm:t>
    </dgm:pt>
    <dgm:pt modelId="{ADBC9997-4473-41AD-B7F1-0F4456542D12}" type="pres">
      <dgm:prSet presAssocID="{3CB687A2-9013-45C9-BC5B-69D48F95A26B}" presName="childText" presStyleLbl="bgAcc1" presStyleIdx="2" presStyleCnt="10" custScaleX="314636" custLinFactNeighborX="-558" custLinFactNeighborY="-1217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71EB15-1920-4D61-9551-63E3B638B830}" type="pres">
      <dgm:prSet presAssocID="{C1BB2156-12CD-4D66-8F88-F8590B862DE9}" presName="Name13" presStyleLbl="parChTrans1D2" presStyleIdx="3" presStyleCnt="10"/>
      <dgm:spPr/>
      <dgm:t>
        <a:bodyPr/>
        <a:lstStyle/>
        <a:p>
          <a:endParaRPr lang="ru-RU"/>
        </a:p>
      </dgm:t>
    </dgm:pt>
    <dgm:pt modelId="{40208649-DC46-490C-8172-8EBAEF13B24C}" type="pres">
      <dgm:prSet presAssocID="{DDD638F9-3C0D-4CE4-B1EC-437D357CC03F}" presName="childText" presStyleLbl="bgAcc1" presStyleIdx="3" presStyleCnt="10" custScaleX="316587" custLinFactNeighborX="-42" custLinFactNeighborY="-1870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D8D79C4-E00D-4872-BD74-AD3507E78118}" type="pres">
      <dgm:prSet presAssocID="{47F0EB99-DE39-44B6-8E8E-F5106AAC4F97}" presName="Name13" presStyleLbl="parChTrans1D2" presStyleIdx="4" presStyleCnt="10"/>
      <dgm:spPr/>
      <dgm:t>
        <a:bodyPr/>
        <a:lstStyle/>
        <a:p>
          <a:endParaRPr lang="ru-RU"/>
        </a:p>
      </dgm:t>
    </dgm:pt>
    <dgm:pt modelId="{04A4D353-353A-4284-8BE5-C30BDDBE7FB8}" type="pres">
      <dgm:prSet presAssocID="{EC1C4743-AE1F-44EE-BF92-1794D4E4358D}" presName="childText" presStyleLbl="bgAcc1" presStyleIdx="4" presStyleCnt="10" custScaleX="317397" custScaleY="135559" custLinFactNeighborX="4229" custLinFactNeighborY="-2593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2703A9C-377A-43D7-B7DB-E6AEE1728623}" type="pres">
      <dgm:prSet presAssocID="{CE3379E0-BEDC-4DBA-8E03-0BAA524E5185}" presName="root" presStyleCnt="0"/>
      <dgm:spPr/>
    </dgm:pt>
    <dgm:pt modelId="{4E90BA82-C248-4B50-9884-6F89F61A186F}" type="pres">
      <dgm:prSet presAssocID="{CE3379E0-BEDC-4DBA-8E03-0BAA524E5185}" presName="rootComposite" presStyleCnt="0"/>
      <dgm:spPr/>
    </dgm:pt>
    <dgm:pt modelId="{9EE2802D-455C-401F-9A97-849CEAB8FF3A}" type="pres">
      <dgm:prSet presAssocID="{CE3379E0-BEDC-4DBA-8E03-0BAA524E5185}" presName="rootText" presStyleLbl="node1" presStyleIdx="1" presStyleCnt="2" custScaleX="294167"/>
      <dgm:spPr/>
      <dgm:t>
        <a:bodyPr/>
        <a:lstStyle/>
        <a:p>
          <a:endParaRPr lang="ru-RU"/>
        </a:p>
      </dgm:t>
    </dgm:pt>
    <dgm:pt modelId="{58EE1DEE-1B95-4BD4-AAE1-1D6EF5D72A3D}" type="pres">
      <dgm:prSet presAssocID="{CE3379E0-BEDC-4DBA-8E03-0BAA524E5185}" presName="rootConnector" presStyleLbl="node1" presStyleIdx="1" presStyleCnt="2"/>
      <dgm:spPr/>
      <dgm:t>
        <a:bodyPr/>
        <a:lstStyle/>
        <a:p>
          <a:endParaRPr lang="ru-RU"/>
        </a:p>
      </dgm:t>
    </dgm:pt>
    <dgm:pt modelId="{022BAD43-E6AD-401E-8926-997BF29DC856}" type="pres">
      <dgm:prSet presAssocID="{CE3379E0-BEDC-4DBA-8E03-0BAA524E5185}" presName="childShape" presStyleCnt="0"/>
      <dgm:spPr/>
    </dgm:pt>
    <dgm:pt modelId="{770EAD3C-7E31-47D9-9A50-BCCA5EC70D44}" type="pres">
      <dgm:prSet presAssocID="{66DE5EAD-4699-4A55-8315-DB0124E773D8}" presName="Name13" presStyleLbl="parChTrans1D2" presStyleIdx="5" presStyleCnt="10"/>
      <dgm:spPr/>
      <dgm:t>
        <a:bodyPr/>
        <a:lstStyle/>
        <a:p>
          <a:endParaRPr lang="ru-RU"/>
        </a:p>
      </dgm:t>
    </dgm:pt>
    <dgm:pt modelId="{2B103AE1-3E72-437F-A7AA-D00D83822A74}" type="pres">
      <dgm:prSet presAssocID="{87605C0D-0A25-41AB-B975-25C5FD916951}" presName="childText" presStyleLbl="bgAcc1" presStyleIdx="5" presStyleCnt="10" custScaleX="330734" custLinFactY="27986" custLinFactNeighborX="-1633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69F5BD-8345-4827-B1FB-731395667D02}" type="pres">
      <dgm:prSet presAssocID="{05621AB2-F888-4036-9E17-7F574605A079}" presName="Name13" presStyleLbl="parChTrans1D2" presStyleIdx="6" presStyleCnt="10"/>
      <dgm:spPr/>
      <dgm:t>
        <a:bodyPr/>
        <a:lstStyle/>
        <a:p>
          <a:endParaRPr lang="ru-RU"/>
        </a:p>
      </dgm:t>
    </dgm:pt>
    <dgm:pt modelId="{99AD454D-FE87-4A75-8195-A6710703EE07}" type="pres">
      <dgm:prSet presAssocID="{B16C9B7C-8513-43FB-BA79-565DBAC8039C}" presName="childText" presStyleLbl="bgAcc1" presStyleIdx="6" presStyleCnt="10" custScaleX="331878" custLinFactY="21794" custLinFactNeighborX="706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FA0414-ECA2-4672-9403-7C013957FC83}" type="pres">
      <dgm:prSet presAssocID="{57EE8A7E-73FC-4CC6-8DD0-FF0AB4A1D4B9}" presName="Name13" presStyleLbl="parChTrans1D2" presStyleIdx="7" presStyleCnt="10"/>
      <dgm:spPr/>
      <dgm:t>
        <a:bodyPr/>
        <a:lstStyle/>
        <a:p>
          <a:endParaRPr lang="ru-RU"/>
        </a:p>
      </dgm:t>
    </dgm:pt>
    <dgm:pt modelId="{92A9C4B5-20D2-4C96-98FD-5A77CDA69B75}" type="pres">
      <dgm:prSet presAssocID="{D01F07D0-5036-4B28-9E67-408379B91B67}" presName="childText" presStyleLbl="bgAcc1" presStyleIdx="7" presStyleCnt="10" custScaleX="333290" custLinFactY="100000" custLinFactNeighborX="0" custLinFactNeighborY="11990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786EAB4-8ED5-41CA-962E-FB73AD6F8542}" type="pres">
      <dgm:prSet presAssocID="{F4FDC129-B6B9-47DF-BEA8-64E4A1245D01}" presName="Name13" presStyleLbl="parChTrans1D2" presStyleIdx="8" presStyleCnt="10"/>
      <dgm:spPr/>
      <dgm:t>
        <a:bodyPr/>
        <a:lstStyle/>
        <a:p>
          <a:endParaRPr lang="ru-RU"/>
        </a:p>
      </dgm:t>
    </dgm:pt>
    <dgm:pt modelId="{98C8899B-AB10-426B-A5B0-A94A6C4F89D0}" type="pres">
      <dgm:prSet presAssocID="{A379535B-1ADC-4AF4-A150-26A53B170DD7}" presName="childText" presStyleLbl="bgAcc1" presStyleIdx="8" presStyleCnt="10" custScaleX="332368" custLinFactNeighborX="-705" custLinFactNeighborY="-169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FFDA90D-9CD7-4552-8297-4229CD89EF10}" type="pres">
      <dgm:prSet presAssocID="{FA551FFA-4F27-4834-8732-FCFE411BAAAD}" presName="Name13" presStyleLbl="parChTrans1D2" presStyleIdx="9" presStyleCnt="10"/>
      <dgm:spPr/>
      <dgm:t>
        <a:bodyPr/>
        <a:lstStyle/>
        <a:p>
          <a:endParaRPr lang="ru-RU"/>
        </a:p>
      </dgm:t>
    </dgm:pt>
    <dgm:pt modelId="{4BCD3F91-B547-491C-AC61-425962007CC5}" type="pres">
      <dgm:prSet presAssocID="{7F581A65-80A2-498B-B3A7-709E374B770A}" presName="childText" presStyleLbl="bgAcc1" presStyleIdx="9" presStyleCnt="10" custScaleX="334784" custLinFactY="-200000" custLinFactNeighborX="-6075" custLinFactNeighborY="-28364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3325ED5-02D0-4AB3-9B84-3E778F02968B}" type="presOf" srcId="{C91F85DB-4160-49A1-909E-5DA8F8754976}" destId="{5A81519D-C365-46CF-AEC4-066DA815C1F0}" srcOrd="0" destOrd="0" presId="urn:microsoft.com/office/officeart/2005/8/layout/hierarchy3"/>
    <dgm:cxn modelId="{407FE146-52A7-4CAF-AE00-45697F0E01AA}" srcId="{CE3379E0-BEDC-4DBA-8E03-0BAA524E5185}" destId="{D01F07D0-5036-4B28-9E67-408379B91B67}" srcOrd="2" destOrd="0" parTransId="{57EE8A7E-73FC-4CC6-8DD0-FF0AB4A1D4B9}" sibTransId="{CC913BC1-10D0-496C-AA33-90B5F578C394}"/>
    <dgm:cxn modelId="{9D2BC303-600B-4EF9-B1FF-9AB24A1D6619}" type="presOf" srcId="{57EE8A7E-73FC-4CC6-8DD0-FF0AB4A1D4B9}" destId="{C1FA0414-ECA2-4672-9403-7C013957FC83}" srcOrd="0" destOrd="0" presId="urn:microsoft.com/office/officeart/2005/8/layout/hierarchy3"/>
    <dgm:cxn modelId="{34644C82-FEEC-4B22-B4EC-385941AF040C}" srcId="{CE3379E0-BEDC-4DBA-8E03-0BAA524E5185}" destId="{A379535B-1ADC-4AF4-A150-26A53B170DD7}" srcOrd="3" destOrd="0" parTransId="{F4FDC129-B6B9-47DF-BEA8-64E4A1245D01}" sibTransId="{4C1C97D9-7D72-4379-96FF-9E22D82BE26A}"/>
    <dgm:cxn modelId="{38D99072-722A-4A85-86FF-34B2EA2C5206}" type="presOf" srcId="{FA551FFA-4F27-4834-8732-FCFE411BAAAD}" destId="{3FFDA90D-9CD7-4552-8297-4229CD89EF10}" srcOrd="0" destOrd="0" presId="urn:microsoft.com/office/officeart/2005/8/layout/hierarchy3"/>
    <dgm:cxn modelId="{6CDBEC41-DBF8-4FDC-9C3B-D5197E6C7C4F}" type="presOf" srcId="{C9E22D09-B899-440D-BCD1-D41431A86CC5}" destId="{B56AC208-F62C-4857-87F9-FDDE87D52416}" srcOrd="0" destOrd="0" presId="urn:microsoft.com/office/officeart/2005/8/layout/hierarchy3"/>
    <dgm:cxn modelId="{1F44708F-5C8B-4CD5-9031-3D2546CC254A}" type="presOf" srcId="{9B25C8FB-26A1-4623-8CC0-42B614229EAC}" destId="{103B1E13-0EA2-441D-915F-B83043A84146}" srcOrd="0" destOrd="0" presId="urn:microsoft.com/office/officeart/2005/8/layout/hierarchy3"/>
    <dgm:cxn modelId="{6F2D09DC-AC9B-47C7-8056-C3875FC07E67}" type="presOf" srcId="{D83C9C2F-465C-41C4-8D1B-DED57E5B86C2}" destId="{4A598A72-BB67-41A2-8564-13C0892D54DA}" srcOrd="0" destOrd="0" presId="urn:microsoft.com/office/officeart/2005/8/layout/hierarchy3"/>
    <dgm:cxn modelId="{5095DF8B-A3F5-46AE-8262-A90C1BD14006}" srcId="{CE3379E0-BEDC-4DBA-8E03-0BAA524E5185}" destId="{B16C9B7C-8513-43FB-BA79-565DBAC8039C}" srcOrd="1" destOrd="0" parTransId="{05621AB2-F888-4036-9E17-7F574605A079}" sibTransId="{56867524-D42F-47EC-84C7-EF4CA56F9343}"/>
    <dgm:cxn modelId="{25DCC187-DAE1-493A-99BC-469A8B2EB083}" srcId="{D83C9C2F-465C-41C4-8D1B-DED57E5B86C2}" destId="{CE3379E0-BEDC-4DBA-8E03-0BAA524E5185}" srcOrd="1" destOrd="0" parTransId="{83768D33-9723-4D71-BD68-C833F231C558}" sibTransId="{84ED15E9-57F4-47EB-A535-A15BE738E548}"/>
    <dgm:cxn modelId="{43ECB488-4619-48B4-A15A-6A406E07806E}" type="presOf" srcId="{47F0EB99-DE39-44B6-8E8E-F5106AAC4F97}" destId="{3D8D79C4-E00D-4872-BD74-AD3507E78118}" srcOrd="0" destOrd="0" presId="urn:microsoft.com/office/officeart/2005/8/layout/hierarchy3"/>
    <dgm:cxn modelId="{1C9A8687-58B4-452C-913E-9BC1B31E2364}" srcId="{335E2E20-788F-428E-A5F7-07F3ABE4E67B}" destId="{F82F4A40-07E4-4294-90D5-64F21AD9296A}" srcOrd="1" destOrd="0" parTransId="{DEE2784C-B448-4829-90DA-272CDADF9A52}" sibTransId="{D6FD913B-AB0C-4719-84C1-E976B679F81B}"/>
    <dgm:cxn modelId="{22B6F542-247D-4F6E-93D7-69BD67FC4DB1}" type="presOf" srcId="{335E2E20-788F-428E-A5F7-07F3ABE4E67B}" destId="{31A068BB-DF44-4A67-90E8-4A6094B88C42}" srcOrd="1" destOrd="0" presId="urn:microsoft.com/office/officeart/2005/8/layout/hierarchy3"/>
    <dgm:cxn modelId="{5EFD6ADD-B27A-4AF2-B1C3-9C7F552A4446}" type="presOf" srcId="{66DE5EAD-4699-4A55-8315-DB0124E773D8}" destId="{770EAD3C-7E31-47D9-9A50-BCCA5EC70D44}" srcOrd="0" destOrd="0" presId="urn:microsoft.com/office/officeart/2005/8/layout/hierarchy3"/>
    <dgm:cxn modelId="{8ECC8D2C-C4AA-4889-96F6-CCED9D1C0A47}" type="presOf" srcId="{CE3379E0-BEDC-4DBA-8E03-0BAA524E5185}" destId="{58EE1DEE-1B95-4BD4-AAE1-1D6EF5D72A3D}" srcOrd="1" destOrd="0" presId="urn:microsoft.com/office/officeart/2005/8/layout/hierarchy3"/>
    <dgm:cxn modelId="{36C14D09-BD12-423F-91B7-07BF614E19E9}" type="presOf" srcId="{A379535B-1ADC-4AF4-A150-26A53B170DD7}" destId="{98C8899B-AB10-426B-A5B0-A94A6C4F89D0}" srcOrd="0" destOrd="0" presId="urn:microsoft.com/office/officeart/2005/8/layout/hierarchy3"/>
    <dgm:cxn modelId="{7693828D-D69F-45A9-B282-C8253D830A4F}" type="presOf" srcId="{DEE2784C-B448-4829-90DA-272CDADF9A52}" destId="{59368E99-E683-4EF3-8F1E-C1973971342A}" srcOrd="0" destOrd="0" presId="urn:microsoft.com/office/officeart/2005/8/layout/hierarchy3"/>
    <dgm:cxn modelId="{47FFE739-D21B-4F53-B95E-5CB8C6D72AA5}" srcId="{D83C9C2F-465C-41C4-8D1B-DED57E5B86C2}" destId="{335E2E20-788F-428E-A5F7-07F3ABE4E67B}" srcOrd="0" destOrd="0" parTransId="{DBBEB459-D044-4DEC-A62C-932CC0429798}" sibTransId="{34688FD2-9417-4711-80B5-913E6B7723DA}"/>
    <dgm:cxn modelId="{AB47B672-AD2A-48F3-BF0B-D6EC6851ACDE}" srcId="{335E2E20-788F-428E-A5F7-07F3ABE4E67B}" destId="{9B25C8FB-26A1-4623-8CC0-42B614229EAC}" srcOrd="0" destOrd="0" parTransId="{C91F85DB-4160-49A1-909E-5DA8F8754976}" sibTransId="{3E3AE17C-78C1-42FC-9236-AAEEFB7D966B}"/>
    <dgm:cxn modelId="{4457D09D-2249-4D66-BDDC-79CC943ABC7B}" type="presOf" srcId="{87605C0D-0A25-41AB-B975-25C5FD916951}" destId="{2B103AE1-3E72-437F-A7AA-D00D83822A74}" srcOrd="0" destOrd="0" presId="urn:microsoft.com/office/officeart/2005/8/layout/hierarchy3"/>
    <dgm:cxn modelId="{80B87B70-647B-41E9-A1C6-318F43F814B0}" type="presOf" srcId="{F4FDC129-B6B9-47DF-BEA8-64E4A1245D01}" destId="{8786EAB4-8ED5-41CA-962E-FB73AD6F8542}" srcOrd="0" destOrd="0" presId="urn:microsoft.com/office/officeart/2005/8/layout/hierarchy3"/>
    <dgm:cxn modelId="{4B62A9AA-1B5C-4E88-B96A-8C6667E90DAE}" type="presOf" srcId="{3CB687A2-9013-45C9-BC5B-69D48F95A26B}" destId="{ADBC9997-4473-41AD-B7F1-0F4456542D12}" srcOrd="0" destOrd="0" presId="urn:microsoft.com/office/officeart/2005/8/layout/hierarchy3"/>
    <dgm:cxn modelId="{263E88F8-436F-4309-BA1C-6A1D2ACA2578}" type="presOf" srcId="{05621AB2-F888-4036-9E17-7F574605A079}" destId="{3169F5BD-8345-4827-B1FB-731395667D02}" srcOrd="0" destOrd="0" presId="urn:microsoft.com/office/officeart/2005/8/layout/hierarchy3"/>
    <dgm:cxn modelId="{DA9615B4-6B04-41A3-9738-35FDCDD28991}" srcId="{335E2E20-788F-428E-A5F7-07F3ABE4E67B}" destId="{3CB687A2-9013-45C9-BC5B-69D48F95A26B}" srcOrd="2" destOrd="0" parTransId="{C9E22D09-B899-440D-BCD1-D41431A86CC5}" sibTransId="{A92867CD-2D75-4B4B-B905-8D2DCAC402B4}"/>
    <dgm:cxn modelId="{01B46712-1EF2-4F3B-A195-4D644C26AD37}" type="presOf" srcId="{CE3379E0-BEDC-4DBA-8E03-0BAA524E5185}" destId="{9EE2802D-455C-401F-9A97-849CEAB8FF3A}" srcOrd="0" destOrd="0" presId="urn:microsoft.com/office/officeart/2005/8/layout/hierarchy3"/>
    <dgm:cxn modelId="{D4E7F0CD-113D-4C3A-9C3C-6AFED7A2051E}" srcId="{CE3379E0-BEDC-4DBA-8E03-0BAA524E5185}" destId="{87605C0D-0A25-41AB-B975-25C5FD916951}" srcOrd="0" destOrd="0" parTransId="{66DE5EAD-4699-4A55-8315-DB0124E773D8}" sibTransId="{34FCAA58-BA01-495A-B191-8A22910FBDA9}"/>
    <dgm:cxn modelId="{2A21A535-C3DD-4982-B65E-54DD19D01ABB}" type="presOf" srcId="{7F581A65-80A2-498B-B3A7-709E374B770A}" destId="{4BCD3F91-B547-491C-AC61-425962007CC5}" srcOrd="0" destOrd="0" presId="urn:microsoft.com/office/officeart/2005/8/layout/hierarchy3"/>
    <dgm:cxn modelId="{90E60A50-D941-4AA0-8ACF-AED2D0245479}" srcId="{335E2E20-788F-428E-A5F7-07F3ABE4E67B}" destId="{EC1C4743-AE1F-44EE-BF92-1794D4E4358D}" srcOrd="4" destOrd="0" parTransId="{47F0EB99-DE39-44B6-8E8E-F5106AAC4F97}" sibTransId="{6EA27382-A59A-4AF9-8AE3-F6B3035B037D}"/>
    <dgm:cxn modelId="{4CC5BB1F-6890-4404-8BD9-BD1040B2DBB0}" type="presOf" srcId="{EC1C4743-AE1F-44EE-BF92-1794D4E4358D}" destId="{04A4D353-353A-4284-8BE5-C30BDDBE7FB8}" srcOrd="0" destOrd="0" presId="urn:microsoft.com/office/officeart/2005/8/layout/hierarchy3"/>
    <dgm:cxn modelId="{8F8437E9-F986-4800-B462-04932C0E4AB0}" type="presOf" srcId="{B16C9B7C-8513-43FB-BA79-565DBAC8039C}" destId="{99AD454D-FE87-4A75-8195-A6710703EE07}" srcOrd="0" destOrd="0" presId="urn:microsoft.com/office/officeart/2005/8/layout/hierarchy3"/>
    <dgm:cxn modelId="{B982C00D-BD32-4ECE-BBD6-DFC49CD85BD9}" type="presOf" srcId="{F82F4A40-07E4-4294-90D5-64F21AD9296A}" destId="{187374BC-F057-4D05-A72B-AE74ECF607F0}" srcOrd="0" destOrd="0" presId="urn:microsoft.com/office/officeart/2005/8/layout/hierarchy3"/>
    <dgm:cxn modelId="{078078A9-C381-48FB-97C4-2783D26A5ACA}" type="presOf" srcId="{335E2E20-788F-428E-A5F7-07F3ABE4E67B}" destId="{2459EDF2-E36A-4609-B608-D35949D433E3}" srcOrd="0" destOrd="0" presId="urn:microsoft.com/office/officeart/2005/8/layout/hierarchy3"/>
    <dgm:cxn modelId="{46E2A4C6-B6BF-4380-BDF6-EB23528B7056}" srcId="{335E2E20-788F-428E-A5F7-07F3ABE4E67B}" destId="{DDD638F9-3C0D-4CE4-B1EC-437D357CC03F}" srcOrd="3" destOrd="0" parTransId="{C1BB2156-12CD-4D66-8F88-F8590B862DE9}" sibTransId="{C8BE519C-9092-497E-9D81-227F7AFB2968}"/>
    <dgm:cxn modelId="{296181F9-CC98-4A00-9A67-E759A7EE2538}" type="presOf" srcId="{C1BB2156-12CD-4D66-8F88-F8590B862DE9}" destId="{DB71EB15-1920-4D61-9551-63E3B638B830}" srcOrd="0" destOrd="0" presId="urn:microsoft.com/office/officeart/2005/8/layout/hierarchy3"/>
    <dgm:cxn modelId="{3AE7EE9A-9F2E-4991-9F9B-408772B55D13}" type="presOf" srcId="{D01F07D0-5036-4B28-9E67-408379B91B67}" destId="{92A9C4B5-20D2-4C96-98FD-5A77CDA69B75}" srcOrd="0" destOrd="0" presId="urn:microsoft.com/office/officeart/2005/8/layout/hierarchy3"/>
    <dgm:cxn modelId="{4F1C8407-27B7-4FE5-9B9B-54F77DDBDB6E}" type="presOf" srcId="{DDD638F9-3C0D-4CE4-B1EC-437D357CC03F}" destId="{40208649-DC46-490C-8172-8EBAEF13B24C}" srcOrd="0" destOrd="0" presId="urn:microsoft.com/office/officeart/2005/8/layout/hierarchy3"/>
    <dgm:cxn modelId="{CC53E7DF-969A-4E3A-801B-838B23E21E66}" srcId="{CE3379E0-BEDC-4DBA-8E03-0BAA524E5185}" destId="{7F581A65-80A2-498B-B3A7-709E374B770A}" srcOrd="4" destOrd="0" parTransId="{FA551FFA-4F27-4834-8732-FCFE411BAAAD}" sibTransId="{11DF7E23-A224-42F0-8986-0EC5F790AAF5}"/>
    <dgm:cxn modelId="{EE2DF530-65E7-47A8-84FA-2BD496B46895}" type="presParOf" srcId="{4A598A72-BB67-41A2-8564-13C0892D54DA}" destId="{EFE99EFC-9A9A-4E38-8915-D134F3D08FB8}" srcOrd="0" destOrd="0" presId="urn:microsoft.com/office/officeart/2005/8/layout/hierarchy3"/>
    <dgm:cxn modelId="{A19D871C-27DD-447A-96D3-BD7DB88E2738}" type="presParOf" srcId="{EFE99EFC-9A9A-4E38-8915-D134F3D08FB8}" destId="{A897CFFF-8374-4B50-ADFF-8BCB1615F2A7}" srcOrd="0" destOrd="0" presId="urn:microsoft.com/office/officeart/2005/8/layout/hierarchy3"/>
    <dgm:cxn modelId="{8E46B356-0D59-47A7-B5E7-FF27F508F27E}" type="presParOf" srcId="{A897CFFF-8374-4B50-ADFF-8BCB1615F2A7}" destId="{2459EDF2-E36A-4609-B608-D35949D433E3}" srcOrd="0" destOrd="0" presId="urn:microsoft.com/office/officeart/2005/8/layout/hierarchy3"/>
    <dgm:cxn modelId="{C120601C-2DE1-45A6-807C-DD6ABBA30A05}" type="presParOf" srcId="{A897CFFF-8374-4B50-ADFF-8BCB1615F2A7}" destId="{31A068BB-DF44-4A67-90E8-4A6094B88C42}" srcOrd="1" destOrd="0" presId="urn:microsoft.com/office/officeart/2005/8/layout/hierarchy3"/>
    <dgm:cxn modelId="{BB67DED6-3429-412F-B7D6-453C15DCE2AC}" type="presParOf" srcId="{EFE99EFC-9A9A-4E38-8915-D134F3D08FB8}" destId="{68D03094-420F-4A8D-9BF8-346189C48A9D}" srcOrd="1" destOrd="0" presId="urn:microsoft.com/office/officeart/2005/8/layout/hierarchy3"/>
    <dgm:cxn modelId="{B8B02EF7-35FF-4CF4-9A82-FED41741D120}" type="presParOf" srcId="{68D03094-420F-4A8D-9BF8-346189C48A9D}" destId="{5A81519D-C365-46CF-AEC4-066DA815C1F0}" srcOrd="0" destOrd="0" presId="urn:microsoft.com/office/officeart/2005/8/layout/hierarchy3"/>
    <dgm:cxn modelId="{CB017E53-741B-42E2-AA5A-17F211A3F2A5}" type="presParOf" srcId="{68D03094-420F-4A8D-9BF8-346189C48A9D}" destId="{103B1E13-0EA2-441D-915F-B83043A84146}" srcOrd="1" destOrd="0" presId="urn:microsoft.com/office/officeart/2005/8/layout/hierarchy3"/>
    <dgm:cxn modelId="{9A086EB5-CA73-40B2-9423-4DDD7E8988AB}" type="presParOf" srcId="{68D03094-420F-4A8D-9BF8-346189C48A9D}" destId="{59368E99-E683-4EF3-8F1E-C1973971342A}" srcOrd="2" destOrd="0" presId="urn:microsoft.com/office/officeart/2005/8/layout/hierarchy3"/>
    <dgm:cxn modelId="{56632BE2-A935-4C3F-A407-51479061A2A4}" type="presParOf" srcId="{68D03094-420F-4A8D-9BF8-346189C48A9D}" destId="{187374BC-F057-4D05-A72B-AE74ECF607F0}" srcOrd="3" destOrd="0" presId="urn:microsoft.com/office/officeart/2005/8/layout/hierarchy3"/>
    <dgm:cxn modelId="{1B36CF99-B8F2-4863-85A4-1F123364CD06}" type="presParOf" srcId="{68D03094-420F-4A8D-9BF8-346189C48A9D}" destId="{B56AC208-F62C-4857-87F9-FDDE87D52416}" srcOrd="4" destOrd="0" presId="urn:microsoft.com/office/officeart/2005/8/layout/hierarchy3"/>
    <dgm:cxn modelId="{90245600-5172-45F5-B2E1-8E8E9AE0E00B}" type="presParOf" srcId="{68D03094-420F-4A8D-9BF8-346189C48A9D}" destId="{ADBC9997-4473-41AD-B7F1-0F4456542D12}" srcOrd="5" destOrd="0" presId="urn:microsoft.com/office/officeart/2005/8/layout/hierarchy3"/>
    <dgm:cxn modelId="{7D49795B-DABB-42BC-A5B3-67E513AA8173}" type="presParOf" srcId="{68D03094-420F-4A8D-9BF8-346189C48A9D}" destId="{DB71EB15-1920-4D61-9551-63E3B638B830}" srcOrd="6" destOrd="0" presId="urn:microsoft.com/office/officeart/2005/8/layout/hierarchy3"/>
    <dgm:cxn modelId="{E5A2F9CF-B660-4B44-B309-96F6CF8E4093}" type="presParOf" srcId="{68D03094-420F-4A8D-9BF8-346189C48A9D}" destId="{40208649-DC46-490C-8172-8EBAEF13B24C}" srcOrd="7" destOrd="0" presId="urn:microsoft.com/office/officeart/2005/8/layout/hierarchy3"/>
    <dgm:cxn modelId="{9F6EDBB9-6D61-438A-94CE-9FE9F5A9D352}" type="presParOf" srcId="{68D03094-420F-4A8D-9BF8-346189C48A9D}" destId="{3D8D79C4-E00D-4872-BD74-AD3507E78118}" srcOrd="8" destOrd="0" presId="urn:microsoft.com/office/officeart/2005/8/layout/hierarchy3"/>
    <dgm:cxn modelId="{2CAF6109-58EC-443B-AE51-2D53C92C3441}" type="presParOf" srcId="{68D03094-420F-4A8D-9BF8-346189C48A9D}" destId="{04A4D353-353A-4284-8BE5-C30BDDBE7FB8}" srcOrd="9" destOrd="0" presId="urn:microsoft.com/office/officeart/2005/8/layout/hierarchy3"/>
    <dgm:cxn modelId="{105AE0B4-0D1C-4F73-9C35-906F32D0456E}" type="presParOf" srcId="{4A598A72-BB67-41A2-8564-13C0892D54DA}" destId="{E2703A9C-377A-43D7-B7DB-E6AEE1728623}" srcOrd="1" destOrd="0" presId="urn:microsoft.com/office/officeart/2005/8/layout/hierarchy3"/>
    <dgm:cxn modelId="{ECFC3596-A697-499D-876D-938E8CF29D3E}" type="presParOf" srcId="{E2703A9C-377A-43D7-B7DB-E6AEE1728623}" destId="{4E90BA82-C248-4B50-9884-6F89F61A186F}" srcOrd="0" destOrd="0" presId="urn:microsoft.com/office/officeart/2005/8/layout/hierarchy3"/>
    <dgm:cxn modelId="{7A294913-A058-463C-97CF-73B2A80AD25B}" type="presParOf" srcId="{4E90BA82-C248-4B50-9884-6F89F61A186F}" destId="{9EE2802D-455C-401F-9A97-849CEAB8FF3A}" srcOrd="0" destOrd="0" presId="urn:microsoft.com/office/officeart/2005/8/layout/hierarchy3"/>
    <dgm:cxn modelId="{D2EF694A-9557-449C-9AFA-EB1FAF1FAB2E}" type="presParOf" srcId="{4E90BA82-C248-4B50-9884-6F89F61A186F}" destId="{58EE1DEE-1B95-4BD4-AAE1-1D6EF5D72A3D}" srcOrd="1" destOrd="0" presId="urn:microsoft.com/office/officeart/2005/8/layout/hierarchy3"/>
    <dgm:cxn modelId="{016B9AFE-802C-4EEB-9A63-03530009F484}" type="presParOf" srcId="{E2703A9C-377A-43D7-B7DB-E6AEE1728623}" destId="{022BAD43-E6AD-401E-8926-997BF29DC856}" srcOrd="1" destOrd="0" presId="urn:microsoft.com/office/officeart/2005/8/layout/hierarchy3"/>
    <dgm:cxn modelId="{CB9B4465-0A39-42B6-BBBC-9FECCC6EC76C}" type="presParOf" srcId="{022BAD43-E6AD-401E-8926-997BF29DC856}" destId="{770EAD3C-7E31-47D9-9A50-BCCA5EC70D44}" srcOrd="0" destOrd="0" presId="urn:microsoft.com/office/officeart/2005/8/layout/hierarchy3"/>
    <dgm:cxn modelId="{B1A99ABB-7007-43C7-B77E-CCFBD658BB29}" type="presParOf" srcId="{022BAD43-E6AD-401E-8926-997BF29DC856}" destId="{2B103AE1-3E72-437F-A7AA-D00D83822A74}" srcOrd="1" destOrd="0" presId="urn:microsoft.com/office/officeart/2005/8/layout/hierarchy3"/>
    <dgm:cxn modelId="{A09AE5FD-DAC9-4864-8391-4F9A57E4F94F}" type="presParOf" srcId="{022BAD43-E6AD-401E-8926-997BF29DC856}" destId="{3169F5BD-8345-4827-B1FB-731395667D02}" srcOrd="2" destOrd="0" presId="urn:microsoft.com/office/officeart/2005/8/layout/hierarchy3"/>
    <dgm:cxn modelId="{CED44566-92D6-4341-B44D-40523C84F56D}" type="presParOf" srcId="{022BAD43-E6AD-401E-8926-997BF29DC856}" destId="{99AD454D-FE87-4A75-8195-A6710703EE07}" srcOrd="3" destOrd="0" presId="urn:microsoft.com/office/officeart/2005/8/layout/hierarchy3"/>
    <dgm:cxn modelId="{FAB17BAB-D95A-4EF3-9F3B-DB46EC1F9E8A}" type="presParOf" srcId="{022BAD43-E6AD-401E-8926-997BF29DC856}" destId="{C1FA0414-ECA2-4672-9403-7C013957FC83}" srcOrd="4" destOrd="0" presId="urn:microsoft.com/office/officeart/2005/8/layout/hierarchy3"/>
    <dgm:cxn modelId="{679C9D71-13AB-45EA-921C-16CBA4E46165}" type="presParOf" srcId="{022BAD43-E6AD-401E-8926-997BF29DC856}" destId="{92A9C4B5-20D2-4C96-98FD-5A77CDA69B75}" srcOrd="5" destOrd="0" presId="urn:microsoft.com/office/officeart/2005/8/layout/hierarchy3"/>
    <dgm:cxn modelId="{9CAE577D-EBB4-4A00-B10E-319F526222E1}" type="presParOf" srcId="{022BAD43-E6AD-401E-8926-997BF29DC856}" destId="{8786EAB4-8ED5-41CA-962E-FB73AD6F8542}" srcOrd="6" destOrd="0" presId="urn:microsoft.com/office/officeart/2005/8/layout/hierarchy3"/>
    <dgm:cxn modelId="{5230B9D6-19D3-448D-BF3E-3D18785DF906}" type="presParOf" srcId="{022BAD43-E6AD-401E-8926-997BF29DC856}" destId="{98C8899B-AB10-426B-A5B0-A94A6C4F89D0}" srcOrd="7" destOrd="0" presId="urn:microsoft.com/office/officeart/2005/8/layout/hierarchy3"/>
    <dgm:cxn modelId="{D1CC6028-9AC7-4D2B-B38C-7CDE1BC83C49}" type="presParOf" srcId="{022BAD43-E6AD-401E-8926-997BF29DC856}" destId="{3FFDA90D-9CD7-4552-8297-4229CD89EF10}" srcOrd="8" destOrd="0" presId="urn:microsoft.com/office/officeart/2005/8/layout/hierarchy3"/>
    <dgm:cxn modelId="{4BC0889D-B615-4ADA-BAC5-43C74AA2BBD1}" type="presParOf" srcId="{022BAD43-E6AD-401E-8926-997BF29DC856}" destId="{4BCD3F91-B547-491C-AC61-425962007CC5}" srcOrd="9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AD30C5DF-2CDE-40CF-9FBF-C01B6640862B}" type="doc">
      <dgm:prSet loTypeId="urn:microsoft.com/office/officeart/2005/8/layout/list1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805F80F2-EBAC-4F87-A163-F46B4EAF91BB}">
      <dgm:prSet phldrT="[Текст]" custT="1"/>
      <dgm:spPr/>
      <dgm:t>
        <a:bodyPr/>
        <a:lstStyle/>
        <a:p>
          <a:r>
            <a:rPr lang="ru-RU" sz="2000" b="1" dirty="0"/>
            <a:t>Провести аудит мониторингов и запросов на предмет соответствия закону  </a:t>
          </a:r>
        </a:p>
      </dgm:t>
    </dgm:pt>
    <dgm:pt modelId="{46916EC9-EF9F-4190-9553-AA2E7B7747A7}" type="parTrans" cxnId="{A7394F67-9E48-4D75-9DD1-8BCEDD19B248}">
      <dgm:prSet/>
      <dgm:spPr/>
      <dgm:t>
        <a:bodyPr/>
        <a:lstStyle/>
        <a:p>
          <a:endParaRPr lang="ru-RU"/>
        </a:p>
      </dgm:t>
    </dgm:pt>
    <dgm:pt modelId="{CE0B6C1E-32EE-418E-B489-0A4AC28D8C7D}" type="sibTrans" cxnId="{A7394F67-9E48-4D75-9DD1-8BCEDD19B248}">
      <dgm:prSet/>
      <dgm:spPr/>
      <dgm:t>
        <a:bodyPr/>
        <a:lstStyle/>
        <a:p>
          <a:endParaRPr lang="ru-RU"/>
        </a:p>
      </dgm:t>
    </dgm:pt>
    <dgm:pt modelId="{31CC49B5-45AD-4219-851B-5BCCEBF38197}">
      <dgm:prSet phldrT="[Текст]" custT="1"/>
      <dgm:spPr/>
      <dgm:t>
        <a:bodyPr/>
        <a:lstStyle/>
        <a:p>
          <a:r>
            <a:rPr lang="ru-RU" sz="2000" b="1" dirty="0"/>
            <a:t>Сформировать единый межрегиональный перечень документов и показателей, требуемых от школы </a:t>
          </a:r>
        </a:p>
      </dgm:t>
    </dgm:pt>
    <dgm:pt modelId="{D6CF3B98-5156-428D-84EE-2F59D89A274B}" type="parTrans" cxnId="{4C836418-F207-4503-AD14-37B114A1EDCE}">
      <dgm:prSet/>
      <dgm:spPr/>
      <dgm:t>
        <a:bodyPr/>
        <a:lstStyle/>
        <a:p>
          <a:endParaRPr lang="ru-RU"/>
        </a:p>
      </dgm:t>
    </dgm:pt>
    <dgm:pt modelId="{D45FED61-0ADD-41D4-B194-21F38575692F}" type="sibTrans" cxnId="{4C836418-F207-4503-AD14-37B114A1EDCE}">
      <dgm:prSet/>
      <dgm:spPr/>
      <dgm:t>
        <a:bodyPr/>
        <a:lstStyle/>
        <a:p>
          <a:endParaRPr lang="ru-RU"/>
        </a:p>
      </dgm:t>
    </dgm:pt>
    <dgm:pt modelId="{95BC4DA0-D864-4FD9-BA7C-874568B589A7}">
      <dgm:prSet phldrT="[Текст]" custT="1"/>
      <dgm:spPr/>
      <dgm:t>
        <a:bodyPr/>
        <a:lstStyle/>
        <a:p>
          <a:r>
            <a:rPr lang="ru-RU" sz="2000" b="1" dirty="0"/>
            <a:t>Назначить ответственное лицо за осуществление контроля за исходящими письмами в школу в соответствии с новыми нормами закона  </a:t>
          </a:r>
        </a:p>
      </dgm:t>
    </dgm:pt>
    <dgm:pt modelId="{B05E5BF5-BB83-435A-9573-C7D9CE7DB0E3}" type="sibTrans" cxnId="{E64FD86E-0C38-4D91-8925-90F33EA392CF}">
      <dgm:prSet/>
      <dgm:spPr/>
      <dgm:t>
        <a:bodyPr/>
        <a:lstStyle/>
        <a:p>
          <a:endParaRPr lang="ru-RU"/>
        </a:p>
      </dgm:t>
    </dgm:pt>
    <dgm:pt modelId="{D2467246-7835-4F19-B4E5-EB0A8C317118}" type="parTrans" cxnId="{E64FD86E-0C38-4D91-8925-90F33EA392CF}">
      <dgm:prSet/>
      <dgm:spPr/>
      <dgm:t>
        <a:bodyPr/>
        <a:lstStyle/>
        <a:p>
          <a:endParaRPr lang="ru-RU"/>
        </a:p>
      </dgm:t>
    </dgm:pt>
    <dgm:pt modelId="{0D37CB6A-50F9-485B-ABBA-CEABBC6DD504}">
      <dgm:prSet custT="1"/>
      <dgm:spPr/>
      <dgm:t>
        <a:bodyPr/>
        <a:lstStyle/>
        <a:p>
          <a:r>
            <a:rPr lang="ru-RU" sz="2000" b="1" dirty="0"/>
            <a:t>Доработать федеральные и региональные ИС с учетом задач автоматизации загрузки и выгрузки информации  </a:t>
          </a:r>
        </a:p>
      </dgm:t>
    </dgm:pt>
    <dgm:pt modelId="{871C5BA5-765F-4E5E-BAD3-FCD37CF28449}" type="parTrans" cxnId="{2307A566-0CF7-46A7-84A0-7E8317654647}">
      <dgm:prSet/>
      <dgm:spPr/>
      <dgm:t>
        <a:bodyPr/>
        <a:lstStyle/>
        <a:p>
          <a:endParaRPr lang="ru-RU"/>
        </a:p>
      </dgm:t>
    </dgm:pt>
    <dgm:pt modelId="{01EE6E51-B964-4472-AA34-7A47538907F7}" type="sibTrans" cxnId="{2307A566-0CF7-46A7-84A0-7E8317654647}">
      <dgm:prSet/>
      <dgm:spPr/>
      <dgm:t>
        <a:bodyPr/>
        <a:lstStyle/>
        <a:p>
          <a:endParaRPr lang="ru-RU"/>
        </a:p>
      </dgm:t>
    </dgm:pt>
    <dgm:pt modelId="{28B0890C-5600-40EB-AC45-41FF31ABF0CB}">
      <dgm:prSet custT="1"/>
      <dgm:spPr/>
      <dgm:t>
        <a:bodyPr/>
        <a:lstStyle/>
        <a:p>
          <a:r>
            <a:rPr lang="ru-RU" sz="2000" b="1" dirty="0"/>
            <a:t>Создать межведомственную рабочую группу </a:t>
          </a:r>
        </a:p>
      </dgm:t>
    </dgm:pt>
    <dgm:pt modelId="{CFBEA344-C6B2-4572-8D61-83E066974DD7}" type="parTrans" cxnId="{93D6E533-748C-4C6E-9E3D-B99C47EED299}">
      <dgm:prSet/>
      <dgm:spPr/>
      <dgm:t>
        <a:bodyPr/>
        <a:lstStyle/>
        <a:p>
          <a:endParaRPr lang="ru-RU"/>
        </a:p>
      </dgm:t>
    </dgm:pt>
    <dgm:pt modelId="{15D1B848-67D1-4ECA-A4B1-317FDDB399F2}" type="sibTrans" cxnId="{93D6E533-748C-4C6E-9E3D-B99C47EED299}">
      <dgm:prSet/>
      <dgm:spPr/>
      <dgm:t>
        <a:bodyPr/>
        <a:lstStyle/>
        <a:p>
          <a:endParaRPr lang="ru-RU"/>
        </a:p>
      </dgm:t>
    </dgm:pt>
    <dgm:pt modelId="{49D483FD-3B18-456B-A319-42190F9CE29B}" type="pres">
      <dgm:prSet presAssocID="{AD30C5DF-2CDE-40CF-9FBF-C01B6640862B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74244B5-4586-453A-AF70-2CD13C9EAF4D}" type="pres">
      <dgm:prSet presAssocID="{28B0890C-5600-40EB-AC45-41FF31ABF0CB}" presName="parentLin" presStyleCnt="0"/>
      <dgm:spPr/>
    </dgm:pt>
    <dgm:pt modelId="{5198405D-2F6B-4F67-A571-3BC939992F49}" type="pres">
      <dgm:prSet presAssocID="{28B0890C-5600-40EB-AC45-41FF31ABF0CB}" presName="parentLeftMargin" presStyleLbl="node1" presStyleIdx="0" presStyleCnt="5"/>
      <dgm:spPr/>
      <dgm:t>
        <a:bodyPr/>
        <a:lstStyle/>
        <a:p>
          <a:endParaRPr lang="ru-RU"/>
        </a:p>
      </dgm:t>
    </dgm:pt>
    <dgm:pt modelId="{EF9F0672-D1F7-4109-9B19-5ED637A52CFB}" type="pres">
      <dgm:prSet presAssocID="{28B0890C-5600-40EB-AC45-41FF31ABF0CB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818F13E-DD22-48AF-A20B-C4AB3BF37548}" type="pres">
      <dgm:prSet presAssocID="{28B0890C-5600-40EB-AC45-41FF31ABF0CB}" presName="negativeSpace" presStyleCnt="0"/>
      <dgm:spPr/>
    </dgm:pt>
    <dgm:pt modelId="{52233112-6C62-4EE3-8235-2C4B2F5341E6}" type="pres">
      <dgm:prSet presAssocID="{28B0890C-5600-40EB-AC45-41FF31ABF0CB}" presName="childText" presStyleLbl="conFgAcc1" presStyleIdx="0" presStyleCnt="5">
        <dgm:presLayoutVars>
          <dgm:bulletEnabled val="1"/>
        </dgm:presLayoutVars>
      </dgm:prSet>
      <dgm:spPr/>
    </dgm:pt>
    <dgm:pt modelId="{E9444C79-6800-4990-BC54-DE9956A4277C}" type="pres">
      <dgm:prSet presAssocID="{15D1B848-67D1-4ECA-A4B1-317FDDB399F2}" presName="spaceBetweenRectangles" presStyleCnt="0"/>
      <dgm:spPr/>
    </dgm:pt>
    <dgm:pt modelId="{FC6AC987-6C8F-44A4-8921-4F29E5930110}" type="pres">
      <dgm:prSet presAssocID="{805F80F2-EBAC-4F87-A163-F46B4EAF91BB}" presName="parentLin" presStyleCnt="0"/>
      <dgm:spPr/>
    </dgm:pt>
    <dgm:pt modelId="{B66BE0D6-DD01-4ED2-AEF6-07FB1406344D}" type="pres">
      <dgm:prSet presAssocID="{805F80F2-EBAC-4F87-A163-F46B4EAF91BB}" presName="parentLeftMargin" presStyleLbl="node1" presStyleIdx="0" presStyleCnt="5"/>
      <dgm:spPr/>
      <dgm:t>
        <a:bodyPr/>
        <a:lstStyle/>
        <a:p>
          <a:endParaRPr lang="ru-RU"/>
        </a:p>
      </dgm:t>
    </dgm:pt>
    <dgm:pt modelId="{A97C698D-3D42-48B3-B63A-930CB3336564}" type="pres">
      <dgm:prSet presAssocID="{805F80F2-EBAC-4F87-A163-F46B4EAF91BB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D5B5AEA-A238-422A-8BD6-013332B25125}" type="pres">
      <dgm:prSet presAssocID="{805F80F2-EBAC-4F87-A163-F46B4EAF91BB}" presName="negativeSpace" presStyleCnt="0"/>
      <dgm:spPr/>
    </dgm:pt>
    <dgm:pt modelId="{75BC5E63-71EB-4384-91C6-636F6A982332}" type="pres">
      <dgm:prSet presAssocID="{805F80F2-EBAC-4F87-A163-F46B4EAF91BB}" presName="childText" presStyleLbl="conFgAcc1" presStyleIdx="1" presStyleCnt="5">
        <dgm:presLayoutVars>
          <dgm:bulletEnabled val="1"/>
        </dgm:presLayoutVars>
      </dgm:prSet>
      <dgm:spPr/>
    </dgm:pt>
    <dgm:pt modelId="{2C9F51CB-FBDA-434A-9AF0-C74E5161812D}" type="pres">
      <dgm:prSet presAssocID="{CE0B6C1E-32EE-418E-B489-0A4AC28D8C7D}" presName="spaceBetweenRectangles" presStyleCnt="0"/>
      <dgm:spPr/>
    </dgm:pt>
    <dgm:pt modelId="{F49EEA06-5539-42DB-B764-3B02C6B0672C}" type="pres">
      <dgm:prSet presAssocID="{95BC4DA0-D864-4FD9-BA7C-874568B589A7}" presName="parentLin" presStyleCnt="0"/>
      <dgm:spPr/>
    </dgm:pt>
    <dgm:pt modelId="{1AFFBBB0-AF0E-488D-8D6F-AEE71705E327}" type="pres">
      <dgm:prSet presAssocID="{95BC4DA0-D864-4FD9-BA7C-874568B589A7}" presName="parentLeftMargin" presStyleLbl="node1" presStyleIdx="1" presStyleCnt="5"/>
      <dgm:spPr/>
      <dgm:t>
        <a:bodyPr/>
        <a:lstStyle/>
        <a:p>
          <a:endParaRPr lang="ru-RU"/>
        </a:p>
      </dgm:t>
    </dgm:pt>
    <dgm:pt modelId="{24EC2D4D-D18A-46B1-ABD4-02A540D25F51}" type="pres">
      <dgm:prSet presAssocID="{95BC4DA0-D864-4FD9-BA7C-874568B589A7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3F9A8F-8D67-4E13-A68B-4CFE29881B7B}" type="pres">
      <dgm:prSet presAssocID="{95BC4DA0-D864-4FD9-BA7C-874568B589A7}" presName="negativeSpace" presStyleCnt="0"/>
      <dgm:spPr/>
    </dgm:pt>
    <dgm:pt modelId="{DCB386B0-0464-401D-940F-94ED16055FF5}" type="pres">
      <dgm:prSet presAssocID="{95BC4DA0-D864-4FD9-BA7C-874568B589A7}" presName="childText" presStyleLbl="conFgAcc1" presStyleIdx="2" presStyleCnt="5">
        <dgm:presLayoutVars>
          <dgm:bulletEnabled val="1"/>
        </dgm:presLayoutVars>
      </dgm:prSet>
      <dgm:spPr/>
    </dgm:pt>
    <dgm:pt modelId="{9D0FD6F8-3E81-49EB-B5C2-620514BBB008}" type="pres">
      <dgm:prSet presAssocID="{B05E5BF5-BB83-435A-9573-C7D9CE7DB0E3}" presName="spaceBetweenRectangles" presStyleCnt="0"/>
      <dgm:spPr/>
    </dgm:pt>
    <dgm:pt modelId="{0D63CD6F-1065-4F16-A6F7-17D8EAAA85F1}" type="pres">
      <dgm:prSet presAssocID="{31CC49B5-45AD-4219-851B-5BCCEBF38197}" presName="parentLin" presStyleCnt="0"/>
      <dgm:spPr/>
    </dgm:pt>
    <dgm:pt modelId="{60432043-B74A-4E29-9FDB-022B97D9E188}" type="pres">
      <dgm:prSet presAssocID="{31CC49B5-45AD-4219-851B-5BCCEBF38197}" presName="parentLeftMargin" presStyleLbl="node1" presStyleIdx="2" presStyleCnt="5"/>
      <dgm:spPr/>
      <dgm:t>
        <a:bodyPr/>
        <a:lstStyle/>
        <a:p>
          <a:endParaRPr lang="ru-RU"/>
        </a:p>
      </dgm:t>
    </dgm:pt>
    <dgm:pt modelId="{A55B46C9-05EB-477C-8ED9-30BDBD9F884D}" type="pres">
      <dgm:prSet presAssocID="{31CC49B5-45AD-4219-851B-5BCCEBF38197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707E7B6-ACC4-4967-94F7-9115AEFA8214}" type="pres">
      <dgm:prSet presAssocID="{31CC49B5-45AD-4219-851B-5BCCEBF38197}" presName="negativeSpace" presStyleCnt="0"/>
      <dgm:spPr/>
    </dgm:pt>
    <dgm:pt modelId="{07ABA743-8550-4E5A-BC4E-A62980FE37F4}" type="pres">
      <dgm:prSet presAssocID="{31CC49B5-45AD-4219-851B-5BCCEBF38197}" presName="childText" presStyleLbl="conFgAcc1" presStyleIdx="3" presStyleCnt="5">
        <dgm:presLayoutVars>
          <dgm:bulletEnabled val="1"/>
        </dgm:presLayoutVars>
      </dgm:prSet>
      <dgm:spPr/>
    </dgm:pt>
    <dgm:pt modelId="{23EE93AF-6AA5-45CA-87C8-AEF8826F627B}" type="pres">
      <dgm:prSet presAssocID="{D45FED61-0ADD-41D4-B194-21F38575692F}" presName="spaceBetweenRectangles" presStyleCnt="0"/>
      <dgm:spPr/>
    </dgm:pt>
    <dgm:pt modelId="{BE3FF73A-BA52-4132-B2B2-553F0047D343}" type="pres">
      <dgm:prSet presAssocID="{0D37CB6A-50F9-485B-ABBA-CEABBC6DD504}" presName="parentLin" presStyleCnt="0"/>
      <dgm:spPr/>
    </dgm:pt>
    <dgm:pt modelId="{866DA888-294B-4D35-99CC-B97B15AD592B}" type="pres">
      <dgm:prSet presAssocID="{0D37CB6A-50F9-485B-ABBA-CEABBC6DD504}" presName="parentLeftMargin" presStyleLbl="node1" presStyleIdx="3" presStyleCnt="5"/>
      <dgm:spPr/>
      <dgm:t>
        <a:bodyPr/>
        <a:lstStyle/>
        <a:p>
          <a:endParaRPr lang="ru-RU"/>
        </a:p>
      </dgm:t>
    </dgm:pt>
    <dgm:pt modelId="{0B8B3E73-E9FD-4910-8CEC-90E549DD02E6}" type="pres">
      <dgm:prSet presAssocID="{0D37CB6A-50F9-485B-ABBA-CEABBC6DD504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8A20F1B-7707-48C4-A622-94A533C8712F}" type="pres">
      <dgm:prSet presAssocID="{0D37CB6A-50F9-485B-ABBA-CEABBC6DD504}" presName="negativeSpace" presStyleCnt="0"/>
      <dgm:spPr/>
    </dgm:pt>
    <dgm:pt modelId="{60A15A4C-140B-4B10-B390-100FF1F82BE9}" type="pres">
      <dgm:prSet presAssocID="{0D37CB6A-50F9-485B-ABBA-CEABBC6DD504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90EDE607-4F80-49F2-B1FE-B40F919B196E}" type="presOf" srcId="{31CC49B5-45AD-4219-851B-5BCCEBF38197}" destId="{60432043-B74A-4E29-9FDB-022B97D9E188}" srcOrd="0" destOrd="0" presId="urn:microsoft.com/office/officeart/2005/8/layout/list1"/>
    <dgm:cxn modelId="{36996E88-33F0-4E7C-9D02-54381B54A186}" type="presOf" srcId="{31CC49B5-45AD-4219-851B-5BCCEBF38197}" destId="{A55B46C9-05EB-477C-8ED9-30BDBD9F884D}" srcOrd="1" destOrd="0" presId="urn:microsoft.com/office/officeart/2005/8/layout/list1"/>
    <dgm:cxn modelId="{A7394F67-9E48-4D75-9DD1-8BCEDD19B248}" srcId="{AD30C5DF-2CDE-40CF-9FBF-C01B6640862B}" destId="{805F80F2-EBAC-4F87-A163-F46B4EAF91BB}" srcOrd="1" destOrd="0" parTransId="{46916EC9-EF9F-4190-9553-AA2E7B7747A7}" sibTransId="{CE0B6C1E-32EE-418E-B489-0A4AC28D8C7D}"/>
    <dgm:cxn modelId="{F5F628A9-FACB-4977-8635-14825FCD634F}" type="presOf" srcId="{0D37CB6A-50F9-485B-ABBA-CEABBC6DD504}" destId="{866DA888-294B-4D35-99CC-B97B15AD592B}" srcOrd="0" destOrd="0" presId="urn:microsoft.com/office/officeart/2005/8/layout/list1"/>
    <dgm:cxn modelId="{2307A566-0CF7-46A7-84A0-7E8317654647}" srcId="{AD30C5DF-2CDE-40CF-9FBF-C01B6640862B}" destId="{0D37CB6A-50F9-485B-ABBA-CEABBC6DD504}" srcOrd="4" destOrd="0" parTransId="{871C5BA5-765F-4E5E-BAD3-FCD37CF28449}" sibTransId="{01EE6E51-B964-4472-AA34-7A47538907F7}"/>
    <dgm:cxn modelId="{AC057962-DE6F-4DF9-9978-0B68393160F5}" type="presOf" srcId="{805F80F2-EBAC-4F87-A163-F46B4EAF91BB}" destId="{B66BE0D6-DD01-4ED2-AEF6-07FB1406344D}" srcOrd="0" destOrd="0" presId="urn:microsoft.com/office/officeart/2005/8/layout/list1"/>
    <dgm:cxn modelId="{B1B20206-FD9D-441F-9CC6-0E5C51F8CD45}" type="presOf" srcId="{28B0890C-5600-40EB-AC45-41FF31ABF0CB}" destId="{EF9F0672-D1F7-4109-9B19-5ED637A52CFB}" srcOrd="1" destOrd="0" presId="urn:microsoft.com/office/officeart/2005/8/layout/list1"/>
    <dgm:cxn modelId="{AB62F81F-88D1-45DE-8C2C-50E73EAB1E91}" type="presOf" srcId="{805F80F2-EBAC-4F87-A163-F46B4EAF91BB}" destId="{A97C698D-3D42-48B3-B63A-930CB3336564}" srcOrd="1" destOrd="0" presId="urn:microsoft.com/office/officeart/2005/8/layout/list1"/>
    <dgm:cxn modelId="{4C836418-F207-4503-AD14-37B114A1EDCE}" srcId="{AD30C5DF-2CDE-40CF-9FBF-C01B6640862B}" destId="{31CC49B5-45AD-4219-851B-5BCCEBF38197}" srcOrd="3" destOrd="0" parTransId="{D6CF3B98-5156-428D-84EE-2F59D89A274B}" sibTransId="{D45FED61-0ADD-41D4-B194-21F38575692F}"/>
    <dgm:cxn modelId="{93D6E533-748C-4C6E-9E3D-B99C47EED299}" srcId="{AD30C5DF-2CDE-40CF-9FBF-C01B6640862B}" destId="{28B0890C-5600-40EB-AC45-41FF31ABF0CB}" srcOrd="0" destOrd="0" parTransId="{CFBEA344-C6B2-4572-8D61-83E066974DD7}" sibTransId="{15D1B848-67D1-4ECA-A4B1-317FDDB399F2}"/>
    <dgm:cxn modelId="{E64FD86E-0C38-4D91-8925-90F33EA392CF}" srcId="{AD30C5DF-2CDE-40CF-9FBF-C01B6640862B}" destId="{95BC4DA0-D864-4FD9-BA7C-874568B589A7}" srcOrd="2" destOrd="0" parTransId="{D2467246-7835-4F19-B4E5-EB0A8C317118}" sibTransId="{B05E5BF5-BB83-435A-9573-C7D9CE7DB0E3}"/>
    <dgm:cxn modelId="{37AC9C8B-B9EF-49F2-9D8D-4615685AC0F9}" type="presOf" srcId="{AD30C5DF-2CDE-40CF-9FBF-C01B6640862B}" destId="{49D483FD-3B18-456B-A319-42190F9CE29B}" srcOrd="0" destOrd="0" presId="urn:microsoft.com/office/officeart/2005/8/layout/list1"/>
    <dgm:cxn modelId="{714B68E3-ADED-4165-903C-73659E980901}" type="presOf" srcId="{95BC4DA0-D864-4FD9-BA7C-874568B589A7}" destId="{1AFFBBB0-AF0E-488D-8D6F-AEE71705E327}" srcOrd="0" destOrd="0" presId="urn:microsoft.com/office/officeart/2005/8/layout/list1"/>
    <dgm:cxn modelId="{3D2035F0-FBE6-406C-8AD5-1B17EDA3AA43}" type="presOf" srcId="{0D37CB6A-50F9-485B-ABBA-CEABBC6DD504}" destId="{0B8B3E73-E9FD-4910-8CEC-90E549DD02E6}" srcOrd="1" destOrd="0" presId="urn:microsoft.com/office/officeart/2005/8/layout/list1"/>
    <dgm:cxn modelId="{56797F1F-0257-4422-8061-AFE599EF9BA4}" type="presOf" srcId="{28B0890C-5600-40EB-AC45-41FF31ABF0CB}" destId="{5198405D-2F6B-4F67-A571-3BC939992F49}" srcOrd="0" destOrd="0" presId="urn:microsoft.com/office/officeart/2005/8/layout/list1"/>
    <dgm:cxn modelId="{C3439560-74E1-4057-9F71-75DC0D2DD1BA}" type="presOf" srcId="{95BC4DA0-D864-4FD9-BA7C-874568B589A7}" destId="{24EC2D4D-D18A-46B1-ABD4-02A540D25F51}" srcOrd="1" destOrd="0" presId="urn:microsoft.com/office/officeart/2005/8/layout/list1"/>
    <dgm:cxn modelId="{1260638E-0512-4081-BC5C-1D2D0B371E7F}" type="presParOf" srcId="{49D483FD-3B18-456B-A319-42190F9CE29B}" destId="{874244B5-4586-453A-AF70-2CD13C9EAF4D}" srcOrd="0" destOrd="0" presId="urn:microsoft.com/office/officeart/2005/8/layout/list1"/>
    <dgm:cxn modelId="{C9045051-F82B-481B-A97C-5C4A98D40316}" type="presParOf" srcId="{874244B5-4586-453A-AF70-2CD13C9EAF4D}" destId="{5198405D-2F6B-4F67-A571-3BC939992F49}" srcOrd="0" destOrd="0" presId="urn:microsoft.com/office/officeart/2005/8/layout/list1"/>
    <dgm:cxn modelId="{52EE78A2-BCF5-47D6-8A16-177DE5B35E13}" type="presParOf" srcId="{874244B5-4586-453A-AF70-2CD13C9EAF4D}" destId="{EF9F0672-D1F7-4109-9B19-5ED637A52CFB}" srcOrd="1" destOrd="0" presId="urn:microsoft.com/office/officeart/2005/8/layout/list1"/>
    <dgm:cxn modelId="{0D8F92B3-3E2F-4E40-833C-AFDEEEC9A145}" type="presParOf" srcId="{49D483FD-3B18-456B-A319-42190F9CE29B}" destId="{E818F13E-DD22-48AF-A20B-C4AB3BF37548}" srcOrd="1" destOrd="0" presId="urn:microsoft.com/office/officeart/2005/8/layout/list1"/>
    <dgm:cxn modelId="{53B3FC4D-91D9-49A4-93DC-28570C0673A9}" type="presParOf" srcId="{49D483FD-3B18-456B-A319-42190F9CE29B}" destId="{52233112-6C62-4EE3-8235-2C4B2F5341E6}" srcOrd="2" destOrd="0" presId="urn:microsoft.com/office/officeart/2005/8/layout/list1"/>
    <dgm:cxn modelId="{15A1006B-32D1-405A-ABE9-64B6C9145ECD}" type="presParOf" srcId="{49D483FD-3B18-456B-A319-42190F9CE29B}" destId="{E9444C79-6800-4990-BC54-DE9956A4277C}" srcOrd="3" destOrd="0" presId="urn:microsoft.com/office/officeart/2005/8/layout/list1"/>
    <dgm:cxn modelId="{EF141DFD-2A67-43EF-82B1-C43F20FFA51A}" type="presParOf" srcId="{49D483FD-3B18-456B-A319-42190F9CE29B}" destId="{FC6AC987-6C8F-44A4-8921-4F29E5930110}" srcOrd="4" destOrd="0" presId="urn:microsoft.com/office/officeart/2005/8/layout/list1"/>
    <dgm:cxn modelId="{7F29D2BA-097D-4229-BC9F-8A53299B7822}" type="presParOf" srcId="{FC6AC987-6C8F-44A4-8921-4F29E5930110}" destId="{B66BE0D6-DD01-4ED2-AEF6-07FB1406344D}" srcOrd="0" destOrd="0" presId="urn:microsoft.com/office/officeart/2005/8/layout/list1"/>
    <dgm:cxn modelId="{E3DA5038-9A99-45D3-9CF5-6174CAC33CF1}" type="presParOf" srcId="{FC6AC987-6C8F-44A4-8921-4F29E5930110}" destId="{A97C698D-3D42-48B3-B63A-930CB3336564}" srcOrd="1" destOrd="0" presId="urn:microsoft.com/office/officeart/2005/8/layout/list1"/>
    <dgm:cxn modelId="{A1596B48-4FA6-4E9C-AC26-81C9EA66D06A}" type="presParOf" srcId="{49D483FD-3B18-456B-A319-42190F9CE29B}" destId="{DD5B5AEA-A238-422A-8BD6-013332B25125}" srcOrd="5" destOrd="0" presId="urn:microsoft.com/office/officeart/2005/8/layout/list1"/>
    <dgm:cxn modelId="{7BA1C3A6-0255-4AA0-86C5-5D89F4998D58}" type="presParOf" srcId="{49D483FD-3B18-456B-A319-42190F9CE29B}" destId="{75BC5E63-71EB-4384-91C6-636F6A982332}" srcOrd="6" destOrd="0" presId="urn:microsoft.com/office/officeart/2005/8/layout/list1"/>
    <dgm:cxn modelId="{8EC57A17-F71A-415C-BB5D-2591D30F74BA}" type="presParOf" srcId="{49D483FD-3B18-456B-A319-42190F9CE29B}" destId="{2C9F51CB-FBDA-434A-9AF0-C74E5161812D}" srcOrd="7" destOrd="0" presId="urn:microsoft.com/office/officeart/2005/8/layout/list1"/>
    <dgm:cxn modelId="{A817C42C-9DF1-41CA-A20F-7DAB541F2320}" type="presParOf" srcId="{49D483FD-3B18-456B-A319-42190F9CE29B}" destId="{F49EEA06-5539-42DB-B764-3B02C6B0672C}" srcOrd="8" destOrd="0" presId="urn:microsoft.com/office/officeart/2005/8/layout/list1"/>
    <dgm:cxn modelId="{CB35159A-297F-465F-8B6F-BBA8D7D1E2E4}" type="presParOf" srcId="{F49EEA06-5539-42DB-B764-3B02C6B0672C}" destId="{1AFFBBB0-AF0E-488D-8D6F-AEE71705E327}" srcOrd="0" destOrd="0" presId="urn:microsoft.com/office/officeart/2005/8/layout/list1"/>
    <dgm:cxn modelId="{6B0F0055-04F1-4D2E-A486-BB2FEA47D592}" type="presParOf" srcId="{F49EEA06-5539-42DB-B764-3B02C6B0672C}" destId="{24EC2D4D-D18A-46B1-ABD4-02A540D25F51}" srcOrd="1" destOrd="0" presId="urn:microsoft.com/office/officeart/2005/8/layout/list1"/>
    <dgm:cxn modelId="{8D936D01-A140-4904-B561-140C09A7EDE5}" type="presParOf" srcId="{49D483FD-3B18-456B-A319-42190F9CE29B}" destId="{BC3F9A8F-8D67-4E13-A68B-4CFE29881B7B}" srcOrd="9" destOrd="0" presId="urn:microsoft.com/office/officeart/2005/8/layout/list1"/>
    <dgm:cxn modelId="{DE12E754-DA3B-45FA-A080-2E03E2146EEA}" type="presParOf" srcId="{49D483FD-3B18-456B-A319-42190F9CE29B}" destId="{DCB386B0-0464-401D-940F-94ED16055FF5}" srcOrd="10" destOrd="0" presId="urn:microsoft.com/office/officeart/2005/8/layout/list1"/>
    <dgm:cxn modelId="{C6517EBF-F31E-490C-BA74-0F9EE40864FD}" type="presParOf" srcId="{49D483FD-3B18-456B-A319-42190F9CE29B}" destId="{9D0FD6F8-3E81-49EB-B5C2-620514BBB008}" srcOrd="11" destOrd="0" presId="urn:microsoft.com/office/officeart/2005/8/layout/list1"/>
    <dgm:cxn modelId="{D0DE3EBA-28EF-4C0A-AD3A-FDAAA705921A}" type="presParOf" srcId="{49D483FD-3B18-456B-A319-42190F9CE29B}" destId="{0D63CD6F-1065-4F16-A6F7-17D8EAAA85F1}" srcOrd="12" destOrd="0" presId="urn:microsoft.com/office/officeart/2005/8/layout/list1"/>
    <dgm:cxn modelId="{B5B9BEDD-3B9F-4A13-9996-00158B12604E}" type="presParOf" srcId="{0D63CD6F-1065-4F16-A6F7-17D8EAAA85F1}" destId="{60432043-B74A-4E29-9FDB-022B97D9E188}" srcOrd="0" destOrd="0" presId="urn:microsoft.com/office/officeart/2005/8/layout/list1"/>
    <dgm:cxn modelId="{70E86C0F-BF3B-49BF-B19A-EDB69D08A14C}" type="presParOf" srcId="{0D63CD6F-1065-4F16-A6F7-17D8EAAA85F1}" destId="{A55B46C9-05EB-477C-8ED9-30BDBD9F884D}" srcOrd="1" destOrd="0" presId="urn:microsoft.com/office/officeart/2005/8/layout/list1"/>
    <dgm:cxn modelId="{2AC7E5FE-9A34-4A55-859F-91593F63E198}" type="presParOf" srcId="{49D483FD-3B18-456B-A319-42190F9CE29B}" destId="{E707E7B6-ACC4-4967-94F7-9115AEFA8214}" srcOrd="13" destOrd="0" presId="urn:microsoft.com/office/officeart/2005/8/layout/list1"/>
    <dgm:cxn modelId="{51171473-18E5-4423-BB7E-966453682BDD}" type="presParOf" srcId="{49D483FD-3B18-456B-A319-42190F9CE29B}" destId="{07ABA743-8550-4E5A-BC4E-A62980FE37F4}" srcOrd="14" destOrd="0" presId="urn:microsoft.com/office/officeart/2005/8/layout/list1"/>
    <dgm:cxn modelId="{5105F743-E2CD-4649-8C70-EAC1B579F1CE}" type="presParOf" srcId="{49D483FD-3B18-456B-A319-42190F9CE29B}" destId="{23EE93AF-6AA5-45CA-87C8-AEF8826F627B}" srcOrd="15" destOrd="0" presId="urn:microsoft.com/office/officeart/2005/8/layout/list1"/>
    <dgm:cxn modelId="{5BAE7C6E-57B1-453C-BFF7-601B539558AB}" type="presParOf" srcId="{49D483FD-3B18-456B-A319-42190F9CE29B}" destId="{BE3FF73A-BA52-4132-B2B2-553F0047D343}" srcOrd="16" destOrd="0" presId="urn:microsoft.com/office/officeart/2005/8/layout/list1"/>
    <dgm:cxn modelId="{FE2202CD-DDD4-41C1-A3E9-4C33D90323BD}" type="presParOf" srcId="{BE3FF73A-BA52-4132-B2B2-553F0047D343}" destId="{866DA888-294B-4D35-99CC-B97B15AD592B}" srcOrd="0" destOrd="0" presId="urn:microsoft.com/office/officeart/2005/8/layout/list1"/>
    <dgm:cxn modelId="{E78FD98B-5129-4805-BB87-8B0F751764CE}" type="presParOf" srcId="{BE3FF73A-BA52-4132-B2B2-553F0047D343}" destId="{0B8B3E73-E9FD-4910-8CEC-90E549DD02E6}" srcOrd="1" destOrd="0" presId="urn:microsoft.com/office/officeart/2005/8/layout/list1"/>
    <dgm:cxn modelId="{1A084070-65FC-4038-B92E-77D5D0C4D6A3}" type="presParOf" srcId="{49D483FD-3B18-456B-A319-42190F9CE29B}" destId="{48A20F1B-7707-48C4-A622-94A533C8712F}" srcOrd="17" destOrd="0" presId="urn:microsoft.com/office/officeart/2005/8/layout/list1"/>
    <dgm:cxn modelId="{921C7FD8-79D2-4A03-A1D9-ACA7D43FE6CA}" type="presParOf" srcId="{49D483FD-3B18-456B-A319-42190F9CE29B}" destId="{60A15A4C-140B-4B10-B390-100FF1F82BE9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CA7D0FE-C3E5-4CA1-9956-09B8BFB69FF3}" type="doc">
      <dgm:prSet loTypeId="urn:microsoft.com/office/officeart/2005/8/layout/defaul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382CD41-2904-442B-B644-7755D9195D2D}">
      <dgm:prSet phldrT="[Текст]" custT="1"/>
      <dgm:spPr/>
      <dgm:t>
        <a:bodyPr/>
        <a:lstStyle/>
        <a:p>
          <a:r>
            <a:rPr lang="ru-RU" sz="2400" dirty="0"/>
            <a:t>О наделении полномочиями ФОИВ утверждать  перечень, формы и структуры  документов педагога и образовательной организации  </a:t>
          </a:r>
        </a:p>
      </dgm:t>
    </dgm:pt>
    <dgm:pt modelId="{B189DFCF-6A5C-4117-83B0-7A5D21AEE132}" type="parTrans" cxnId="{D4230111-18DC-4662-9FAA-73885DA1ECB4}">
      <dgm:prSet/>
      <dgm:spPr/>
      <dgm:t>
        <a:bodyPr/>
        <a:lstStyle/>
        <a:p>
          <a:endParaRPr lang="ru-RU"/>
        </a:p>
      </dgm:t>
    </dgm:pt>
    <dgm:pt modelId="{415ADFB6-AE37-4DBA-9E35-F145543DA178}" type="sibTrans" cxnId="{D4230111-18DC-4662-9FAA-73885DA1ECB4}">
      <dgm:prSet/>
      <dgm:spPr/>
      <dgm:t>
        <a:bodyPr/>
        <a:lstStyle/>
        <a:p>
          <a:endParaRPr lang="ru-RU"/>
        </a:p>
      </dgm:t>
    </dgm:pt>
    <dgm:pt modelId="{FFEFE104-F230-44EA-8788-9009AD49993D}">
      <dgm:prSet phldrT="[Текст]" custT="1"/>
      <dgm:spPr/>
      <dgm:t>
        <a:bodyPr/>
        <a:lstStyle/>
        <a:p>
          <a:r>
            <a:rPr lang="ru-RU" sz="3200" dirty="0"/>
            <a:t>Об основаниях для запросов </a:t>
          </a:r>
        </a:p>
      </dgm:t>
    </dgm:pt>
    <dgm:pt modelId="{20D04A36-5FFC-457B-BDA2-01C109F5B321}" type="parTrans" cxnId="{9D3A4E82-96B9-46BE-A49E-5E26F336A58C}">
      <dgm:prSet/>
      <dgm:spPr/>
      <dgm:t>
        <a:bodyPr/>
        <a:lstStyle/>
        <a:p>
          <a:endParaRPr lang="ru-RU"/>
        </a:p>
      </dgm:t>
    </dgm:pt>
    <dgm:pt modelId="{3D6026A5-E31D-4065-8D36-48506AD45423}" type="sibTrans" cxnId="{9D3A4E82-96B9-46BE-A49E-5E26F336A58C}">
      <dgm:prSet/>
      <dgm:spPr/>
      <dgm:t>
        <a:bodyPr/>
        <a:lstStyle/>
        <a:p>
          <a:endParaRPr lang="ru-RU"/>
        </a:p>
      </dgm:t>
    </dgm:pt>
    <dgm:pt modelId="{E6280418-2414-49C4-AA6B-9310B989F3DB}">
      <dgm:prSet custT="1"/>
      <dgm:spPr>
        <a:solidFill>
          <a:srgbClr val="FFC000"/>
        </a:solidFill>
      </dgm:spPr>
      <dgm:t>
        <a:bodyPr/>
        <a:lstStyle/>
        <a:p>
          <a:r>
            <a:rPr lang="ru-RU" sz="2800" dirty="0"/>
            <a:t>О корректировке определения понятия «Образовательная программа»</a:t>
          </a:r>
        </a:p>
      </dgm:t>
    </dgm:pt>
    <dgm:pt modelId="{023339CF-6DAA-4C6F-9E1C-BC7547368DE5}" type="parTrans" cxnId="{A721F896-4ED5-41DD-B87C-AD0E3421CDE5}">
      <dgm:prSet/>
      <dgm:spPr/>
      <dgm:t>
        <a:bodyPr/>
        <a:lstStyle/>
        <a:p>
          <a:endParaRPr lang="ru-RU"/>
        </a:p>
      </dgm:t>
    </dgm:pt>
    <dgm:pt modelId="{CA683187-8736-47A9-80EC-9E9EB77D5263}" type="sibTrans" cxnId="{A721F896-4ED5-41DD-B87C-AD0E3421CDE5}">
      <dgm:prSet/>
      <dgm:spPr/>
      <dgm:t>
        <a:bodyPr/>
        <a:lstStyle/>
        <a:p>
          <a:endParaRPr lang="ru-RU"/>
        </a:p>
      </dgm:t>
    </dgm:pt>
    <dgm:pt modelId="{C4D9C7EF-28DB-49FB-BCA2-DE501A60231A}">
      <dgm:prSet custT="1"/>
      <dgm:spPr>
        <a:solidFill>
          <a:srgbClr val="FFC000"/>
        </a:solidFill>
      </dgm:spPr>
      <dgm:t>
        <a:bodyPr/>
        <a:lstStyle/>
        <a:p>
          <a:r>
            <a:rPr lang="ru-RU" sz="2800" dirty="0"/>
            <a:t>Об определении понятия «Педагогическая деятельность»</a:t>
          </a:r>
        </a:p>
      </dgm:t>
    </dgm:pt>
    <dgm:pt modelId="{DBD9D5AE-D277-4BA9-8151-480B821B3C0B}" type="parTrans" cxnId="{ED7DA7D3-36A4-42C9-B065-6B73473154A5}">
      <dgm:prSet/>
      <dgm:spPr/>
      <dgm:t>
        <a:bodyPr/>
        <a:lstStyle/>
        <a:p>
          <a:endParaRPr lang="ru-RU"/>
        </a:p>
      </dgm:t>
    </dgm:pt>
    <dgm:pt modelId="{B9623A05-59E5-46BA-8EB5-0EC5ADD31ED6}" type="sibTrans" cxnId="{ED7DA7D3-36A4-42C9-B065-6B73473154A5}">
      <dgm:prSet/>
      <dgm:spPr/>
      <dgm:t>
        <a:bodyPr/>
        <a:lstStyle/>
        <a:p>
          <a:endParaRPr lang="ru-RU"/>
        </a:p>
      </dgm:t>
    </dgm:pt>
    <dgm:pt modelId="{AFB5C504-E848-43C7-A756-75FAB60B4CE8}" type="pres">
      <dgm:prSet presAssocID="{9CA7D0FE-C3E5-4CA1-9956-09B8BFB69FF3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8EA30F4-581D-4A22-BA47-8F4BFE825524}" type="pres">
      <dgm:prSet presAssocID="{3382CD41-2904-442B-B644-7755D9195D2D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C8D2D5E-E0C7-4E21-A96E-A65A8F981942}" type="pres">
      <dgm:prSet presAssocID="{415ADFB6-AE37-4DBA-9E35-F145543DA178}" presName="sibTrans" presStyleCnt="0"/>
      <dgm:spPr/>
    </dgm:pt>
    <dgm:pt modelId="{287E0992-1B9A-4C5A-A50A-A601B73F9E4E}" type="pres">
      <dgm:prSet presAssocID="{FFEFE104-F230-44EA-8788-9009AD49993D}" presName="node" presStyleLbl="node1" presStyleIdx="1" presStyleCnt="4" custLinFactNeighborX="26" custLinFactNeighborY="113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D5923F3-4AA3-4239-8360-9E10CC00C7CC}" type="pres">
      <dgm:prSet presAssocID="{3D6026A5-E31D-4065-8D36-48506AD45423}" presName="sibTrans" presStyleCnt="0"/>
      <dgm:spPr/>
    </dgm:pt>
    <dgm:pt modelId="{ECC5607D-4A57-46F2-B914-2125A02CC492}" type="pres">
      <dgm:prSet presAssocID="{E6280418-2414-49C4-AA6B-9310B989F3DB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4D1FCCA-BE81-4652-BC3D-5BFC089BBAD8}" type="pres">
      <dgm:prSet presAssocID="{CA683187-8736-47A9-80EC-9E9EB77D5263}" presName="sibTrans" presStyleCnt="0"/>
      <dgm:spPr/>
    </dgm:pt>
    <dgm:pt modelId="{64ABEC80-F1A3-4CE6-AE5B-D8214C293F76}" type="pres">
      <dgm:prSet presAssocID="{C4D9C7EF-28DB-49FB-BCA2-DE501A60231A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251E843-344A-4269-B994-E3046005944C}" type="presOf" srcId="{FFEFE104-F230-44EA-8788-9009AD49993D}" destId="{287E0992-1B9A-4C5A-A50A-A601B73F9E4E}" srcOrd="0" destOrd="0" presId="urn:microsoft.com/office/officeart/2005/8/layout/default"/>
    <dgm:cxn modelId="{31D9893E-2AAE-4189-8716-15BC3364B58E}" type="presOf" srcId="{E6280418-2414-49C4-AA6B-9310B989F3DB}" destId="{ECC5607D-4A57-46F2-B914-2125A02CC492}" srcOrd="0" destOrd="0" presId="urn:microsoft.com/office/officeart/2005/8/layout/default"/>
    <dgm:cxn modelId="{D4230111-18DC-4662-9FAA-73885DA1ECB4}" srcId="{9CA7D0FE-C3E5-4CA1-9956-09B8BFB69FF3}" destId="{3382CD41-2904-442B-B644-7755D9195D2D}" srcOrd="0" destOrd="0" parTransId="{B189DFCF-6A5C-4117-83B0-7A5D21AEE132}" sibTransId="{415ADFB6-AE37-4DBA-9E35-F145543DA178}"/>
    <dgm:cxn modelId="{A3DE54A1-5021-4194-99CB-B51851E33920}" type="presOf" srcId="{9CA7D0FE-C3E5-4CA1-9956-09B8BFB69FF3}" destId="{AFB5C504-E848-43C7-A756-75FAB60B4CE8}" srcOrd="0" destOrd="0" presId="urn:microsoft.com/office/officeart/2005/8/layout/default"/>
    <dgm:cxn modelId="{31C4A6FF-FDAC-4B27-AEE6-D364EB38DC3B}" type="presOf" srcId="{C4D9C7EF-28DB-49FB-BCA2-DE501A60231A}" destId="{64ABEC80-F1A3-4CE6-AE5B-D8214C293F76}" srcOrd="0" destOrd="0" presId="urn:microsoft.com/office/officeart/2005/8/layout/default"/>
    <dgm:cxn modelId="{9D3A4E82-96B9-46BE-A49E-5E26F336A58C}" srcId="{9CA7D0FE-C3E5-4CA1-9956-09B8BFB69FF3}" destId="{FFEFE104-F230-44EA-8788-9009AD49993D}" srcOrd="1" destOrd="0" parTransId="{20D04A36-5FFC-457B-BDA2-01C109F5B321}" sibTransId="{3D6026A5-E31D-4065-8D36-48506AD45423}"/>
    <dgm:cxn modelId="{ED7DA7D3-36A4-42C9-B065-6B73473154A5}" srcId="{9CA7D0FE-C3E5-4CA1-9956-09B8BFB69FF3}" destId="{C4D9C7EF-28DB-49FB-BCA2-DE501A60231A}" srcOrd="3" destOrd="0" parTransId="{DBD9D5AE-D277-4BA9-8151-480B821B3C0B}" sibTransId="{B9623A05-59E5-46BA-8EB5-0EC5ADD31ED6}"/>
    <dgm:cxn modelId="{3F53325C-5A78-494C-B779-2A3234A362C7}" type="presOf" srcId="{3382CD41-2904-442B-B644-7755D9195D2D}" destId="{48EA30F4-581D-4A22-BA47-8F4BFE825524}" srcOrd="0" destOrd="0" presId="urn:microsoft.com/office/officeart/2005/8/layout/default"/>
    <dgm:cxn modelId="{A721F896-4ED5-41DD-B87C-AD0E3421CDE5}" srcId="{9CA7D0FE-C3E5-4CA1-9956-09B8BFB69FF3}" destId="{E6280418-2414-49C4-AA6B-9310B989F3DB}" srcOrd="2" destOrd="0" parTransId="{023339CF-6DAA-4C6F-9E1C-BC7547368DE5}" sibTransId="{CA683187-8736-47A9-80EC-9E9EB77D5263}"/>
    <dgm:cxn modelId="{C7A24DC6-2F91-4E6F-B388-48D64D447BA5}" type="presParOf" srcId="{AFB5C504-E848-43C7-A756-75FAB60B4CE8}" destId="{48EA30F4-581D-4A22-BA47-8F4BFE825524}" srcOrd="0" destOrd="0" presId="urn:microsoft.com/office/officeart/2005/8/layout/default"/>
    <dgm:cxn modelId="{9CA0B66A-495B-433E-A21F-C0A503BE6C8A}" type="presParOf" srcId="{AFB5C504-E848-43C7-A756-75FAB60B4CE8}" destId="{6C8D2D5E-E0C7-4E21-A96E-A65A8F981942}" srcOrd="1" destOrd="0" presId="urn:microsoft.com/office/officeart/2005/8/layout/default"/>
    <dgm:cxn modelId="{D9557D7D-6942-4EAC-9E9E-E7D7F14AE502}" type="presParOf" srcId="{AFB5C504-E848-43C7-A756-75FAB60B4CE8}" destId="{287E0992-1B9A-4C5A-A50A-A601B73F9E4E}" srcOrd="2" destOrd="0" presId="urn:microsoft.com/office/officeart/2005/8/layout/default"/>
    <dgm:cxn modelId="{B317ABC1-240C-4D67-9424-5C29CF7DFFC8}" type="presParOf" srcId="{AFB5C504-E848-43C7-A756-75FAB60B4CE8}" destId="{7D5923F3-4AA3-4239-8360-9E10CC00C7CC}" srcOrd="3" destOrd="0" presId="urn:microsoft.com/office/officeart/2005/8/layout/default"/>
    <dgm:cxn modelId="{D7220B7E-4332-4EE1-BBAB-41764CFB8EAC}" type="presParOf" srcId="{AFB5C504-E848-43C7-A756-75FAB60B4CE8}" destId="{ECC5607D-4A57-46F2-B914-2125A02CC492}" srcOrd="4" destOrd="0" presId="urn:microsoft.com/office/officeart/2005/8/layout/default"/>
    <dgm:cxn modelId="{3E37146F-585C-4DD2-B76E-9B01F89008F7}" type="presParOf" srcId="{AFB5C504-E848-43C7-A756-75FAB60B4CE8}" destId="{54D1FCCA-BE81-4652-BC3D-5BFC089BBAD8}" srcOrd="5" destOrd="0" presId="urn:microsoft.com/office/officeart/2005/8/layout/default"/>
    <dgm:cxn modelId="{C1A6ADF8-2D73-4069-A6E0-D141A2E18A90}" type="presParOf" srcId="{AFB5C504-E848-43C7-A756-75FAB60B4CE8}" destId="{64ABEC80-F1A3-4CE6-AE5B-D8214C293F76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549A2DA-E957-42B5-8486-61231190E9C7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C7DB5EF-4E01-425B-8A9E-371B8057CF1F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инпросвещения </a:t>
          </a:r>
        </a:p>
      </dgm:t>
    </dgm:pt>
    <dgm:pt modelId="{05D0DE6D-869E-4A08-9718-9F19F1C0EC15}" type="parTrans" cxnId="{8EA5F99C-BDA1-4406-B56C-F296EEA811D7}">
      <dgm:prSet/>
      <dgm:spPr/>
      <dgm:t>
        <a:bodyPr/>
        <a:lstStyle/>
        <a:p>
          <a:endParaRPr lang="ru-RU"/>
        </a:p>
      </dgm:t>
    </dgm:pt>
    <dgm:pt modelId="{ACCE9C74-8510-400F-B338-D67A59C48320}" type="sibTrans" cxnId="{8EA5F99C-BDA1-4406-B56C-F296EEA811D7}">
      <dgm:prSet/>
      <dgm:spPr/>
      <dgm:t>
        <a:bodyPr/>
        <a:lstStyle/>
        <a:p>
          <a:endParaRPr lang="ru-RU"/>
        </a:p>
      </dgm:t>
    </dgm:pt>
    <dgm:pt modelId="{2F59E613-1F49-49BF-BD79-AFABA147BE1D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оспотребнадзор </a:t>
          </a:r>
        </a:p>
      </dgm:t>
    </dgm:pt>
    <dgm:pt modelId="{111B09F6-0FD7-4031-B1FA-72CBED721D2B}" type="parTrans" cxnId="{18DDE755-DC7B-45F0-B528-8FF6F16F494E}">
      <dgm:prSet/>
      <dgm:spPr/>
      <dgm:t>
        <a:bodyPr/>
        <a:lstStyle/>
        <a:p>
          <a:endParaRPr lang="ru-RU"/>
        </a:p>
      </dgm:t>
    </dgm:pt>
    <dgm:pt modelId="{C7E27E0A-A044-41AC-9373-CAE5A9F43CE0}" type="sibTrans" cxnId="{18DDE755-DC7B-45F0-B528-8FF6F16F494E}">
      <dgm:prSet/>
      <dgm:spPr/>
      <dgm:t>
        <a:bodyPr/>
        <a:lstStyle/>
        <a:p>
          <a:endParaRPr lang="ru-RU"/>
        </a:p>
      </dgm:t>
    </dgm:pt>
    <dgm:pt modelId="{DBB42EB7-D7D3-4299-8E12-4CB857C77439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осздравнадзор</a:t>
          </a:r>
          <a:r>
            <a:rPr lang="ru-RU" b="1" dirty="0">
              <a:solidFill>
                <a:schemeClr val="bg1"/>
              </a:solidFill>
            </a:rPr>
            <a:t> </a:t>
          </a:r>
        </a:p>
      </dgm:t>
    </dgm:pt>
    <dgm:pt modelId="{4D012B13-16E1-408F-8F28-FE8F38ECCC44}" type="parTrans" cxnId="{C344FAFE-8B47-4760-9A88-60C27F4CF98E}">
      <dgm:prSet/>
      <dgm:spPr/>
      <dgm:t>
        <a:bodyPr/>
        <a:lstStyle/>
        <a:p>
          <a:endParaRPr lang="ru-RU"/>
        </a:p>
      </dgm:t>
    </dgm:pt>
    <dgm:pt modelId="{A97AA6FC-1C9A-4BB3-90FB-8DEDB6610D00}" type="sibTrans" cxnId="{C344FAFE-8B47-4760-9A88-60C27F4CF98E}">
      <dgm:prSet/>
      <dgm:spPr/>
      <dgm:t>
        <a:bodyPr/>
        <a:lstStyle/>
        <a:p>
          <a:endParaRPr lang="ru-RU"/>
        </a:p>
      </dgm:t>
    </dgm:pt>
    <dgm:pt modelId="{3A43CD0A-72C3-46A1-A4D9-CCBD02E2758F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ЧС</a:t>
          </a:r>
        </a:p>
      </dgm:t>
    </dgm:pt>
    <dgm:pt modelId="{F9512E7D-ACBF-4F3F-8902-647E68AD46A3}" type="parTrans" cxnId="{1DA69661-BC05-45B4-857D-E1B9D26C4412}">
      <dgm:prSet/>
      <dgm:spPr/>
      <dgm:t>
        <a:bodyPr/>
        <a:lstStyle/>
        <a:p>
          <a:endParaRPr lang="ru-RU"/>
        </a:p>
      </dgm:t>
    </dgm:pt>
    <dgm:pt modelId="{A406DEC9-F4FC-46FA-990D-B17CE03A41CB}" type="sibTrans" cxnId="{1DA69661-BC05-45B4-857D-E1B9D26C4412}">
      <dgm:prSet/>
      <dgm:spPr/>
      <dgm:t>
        <a:bodyPr/>
        <a:lstStyle/>
        <a:p>
          <a:endParaRPr lang="ru-RU"/>
        </a:p>
      </dgm:t>
    </dgm:pt>
    <dgm:pt modelId="{0C314C64-4FC2-492D-8BEE-5E809A3899E7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ВД</a:t>
          </a:r>
        </a:p>
      </dgm:t>
    </dgm:pt>
    <dgm:pt modelId="{029DD581-5C33-46BD-A1AB-64F62EDA0219}" type="parTrans" cxnId="{1E526C4A-8194-410A-902A-3733A4D6DDA0}">
      <dgm:prSet/>
      <dgm:spPr/>
      <dgm:t>
        <a:bodyPr/>
        <a:lstStyle/>
        <a:p>
          <a:endParaRPr lang="ru-RU"/>
        </a:p>
      </dgm:t>
    </dgm:pt>
    <dgm:pt modelId="{63DE6E90-6A46-441C-B7B1-68AC8701770D}" type="sibTrans" cxnId="{1E526C4A-8194-410A-902A-3733A4D6DDA0}">
      <dgm:prSet/>
      <dgm:spPr/>
      <dgm:t>
        <a:bodyPr/>
        <a:lstStyle/>
        <a:p>
          <a:endParaRPr lang="ru-RU"/>
        </a:p>
      </dgm:t>
    </dgm:pt>
    <dgm:pt modelId="{1E858333-7233-4016-92F3-25D0E77E35CD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Банки</a:t>
          </a:r>
        </a:p>
      </dgm:t>
    </dgm:pt>
    <dgm:pt modelId="{001E4F2B-0E60-44DE-B6B1-D88FC854DBF1}" type="parTrans" cxnId="{CE402668-468D-4BF1-BB53-53E28CAF443D}">
      <dgm:prSet/>
      <dgm:spPr/>
      <dgm:t>
        <a:bodyPr/>
        <a:lstStyle/>
        <a:p>
          <a:endParaRPr lang="ru-RU"/>
        </a:p>
      </dgm:t>
    </dgm:pt>
    <dgm:pt modelId="{3AA800AA-571B-48F5-B7BD-666867DBDAFD}" type="sibTrans" cxnId="{CE402668-468D-4BF1-BB53-53E28CAF443D}">
      <dgm:prSet/>
      <dgm:spPr/>
      <dgm:t>
        <a:bodyPr/>
        <a:lstStyle/>
        <a:p>
          <a:endParaRPr lang="ru-RU"/>
        </a:p>
      </dgm:t>
    </dgm:pt>
    <dgm:pt modelId="{DD30AA66-6DA5-4050-B8A9-1D2D4AC699C1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инобрнауки</a:t>
          </a:r>
        </a:p>
      </dgm:t>
    </dgm:pt>
    <dgm:pt modelId="{58ADBA43-929F-4C21-A51B-4152BB83349A}" type="parTrans" cxnId="{C996E35E-DDB5-4AA0-9D3B-1A760A064428}">
      <dgm:prSet/>
      <dgm:spPr/>
      <dgm:t>
        <a:bodyPr/>
        <a:lstStyle/>
        <a:p>
          <a:endParaRPr lang="ru-RU"/>
        </a:p>
      </dgm:t>
    </dgm:pt>
    <dgm:pt modelId="{2746E0B4-13AB-46BF-B319-D6340F685DBF}" type="sibTrans" cxnId="{C996E35E-DDB5-4AA0-9D3B-1A760A064428}">
      <dgm:prSet/>
      <dgm:spPr/>
      <dgm:t>
        <a:bodyPr/>
        <a:lstStyle/>
        <a:p>
          <a:endParaRPr lang="ru-RU"/>
        </a:p>
      </dgm:t>
    </dgm:pt>
    <dgm:pt modelId="{76B3F540-0199-4A08-AB2D-BC57433FFF31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Госдума </a:t>
          </a:r>
        </a:p>
      </dgm:t>
    </dgm:pt>
    <dgm:pt modelId="{93618E71-F845-4C24-8749-41CB89DC7C80}" type="parTrans" cxnId="{DACCDA3B-2E67-427A-8EEC-7E285BD06BFF}">
      <dgm:prSet/>
      <dgm:spPr/>
      <dgm:t>
        <a:bodyPr/>
        <a:lstStyle/>
        <a:p>
          <a:endParaRPr lang="ru-RU"/>
        </a:p>
      </dgm:t>
    </dgm:pt>
    <dgm:pt modelId="{277878A7-CEE0-4C7A-848B-A178C98D37C1}" type="sibTrans" cxnId="{DACCDA3B-2E67-427A-8EEC-7E285BD06BFF}">
      <dgm:prSet/>
      <dgm:spPr/>
      <dgm:t>
        <a:bodyPr/>
        <a:lstStyle/>
        <a:p>
          <a:endParaRPr lang="ru-RU"/>
        </a:p>
      </dgm:t>
    </dgm:pt>
    <dgm:pt modelId="{2640ED16-7E82-471E-BB7E-5BB673F7BD29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инобрнауки</a:t>
          </a:r>
          <a:r>
            <a:rPr lang="ru-RU" b="1" baseline="0" dirty="0">
              <a:solidFill>
                <a:schemeClr val="tx1"/>
              </a:solidFill>
            </a:rPr>
            <a:t> </a:t>
          </a:r>
          <a:endParaRPr lang="ru-RU" b="1" dirty="0">
            <a:solidFill>
              <a:schemeClr val="tx1"/>
            </a:solidFill>
          </a:endParaRPr>
        </a:p>
      </dgm:t>
    </dgm:pt>
    <dgm:pt modelId="{2E323985-2E45-4B4D-82ED-06920E22782B}" type="parTrans" cxnId="{4E1BCF67-C8DA-4768-A90E-767C5622C24B}">
      <dgm:prSet/>
      <dgm:spPr/>
      <dgm:t>
        <a:bodyPr/>
        <a:lstStyle/>
        <a:p>
          <a:endParaRPr lang="ru-RU"/>
        </a:p>
      </dgm:t>
    </dgm:pt>
    <dgm:pt modelId="{37B1E80D-6F9A-418D-9B5D-EA7AA10A25A2}" type="sibTrans" cxnId="{4E1BCF67-C8DA-4768-A90E-767C5622C24B}">
      <dgm:prSet/>
      <dgm:spPr/>
      <dgm:t>
        <a:bodyPr/>
        <a:lstStyle/>
        <a:p>
          <a:endParaRPr lang="ru-RU"/>
        </a:p>
      </dgm:t>
    </dgm:pt>
    <dgm:pt modelId="{2B26CEA9-3FE9-473B-BBBA-4E973FC77A9A}" type="pres">
      <dgm:prSet presAssocID="{F549A2DA-E957-42B5-8486-61231190E9C7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D8F0055-463D-40E4-B740-88A22B57BD68}" type="pres">
      <dgm:prSet presAssocID="{BC7DB5EF-4E01-425B-8A9E-371B8057CF1F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3859B6-F26E-4426-8603-53C7C4ECAE95}" type="pres">
      <dgm:prSet presAssocID="{ACCE9C74-8510-400F-B338-D67A59C48320}" presName="sibTrans" presStyleCnt="0"/>
      <dgm:spPr/>
    </dgm:pt>
    <dgm:pt modelId="{C461E2EB-1091-4432-9124-FFE2CC84EFFC}" type="pres">
      <dgm:prSet presAssocID="{2F59E613-1F49-49BF-BD79-AFABA147BE1D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C43BD3-0A30-43D6-BC5B-22D799D0EB80}" type="pres">
      <dgm:prSet presAssocID="{C7E27E0A-A044-41AC-9373-CAE5A9F43CE0}" presName="sibTrans" presStyleCnt="0"/>
      <dgm:spPr/>
    </dgm:pt>
    <dgm:pt modelId="{382114AE-60D0-4A4F-B6F6-9B85973A8774}" type="pres">
      <dgm:prSet presAssocID="{DBB42EB7-D7D3-4299-8E12-4CB857C77439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81DA961-BE7D-4FFB-BF19-76B14E375674}" type="pres">
      <dgm:prSet presAssocID="{A97AA6FC-1C9A-4BB3-90FB-8DEDB6610D00}" presName="sibTrans" presStyleCnt="0"/>
      <dgm:spPr/>
    </dgm:pt>
    <dgm:pt modelId="{800B0D4C-01CE-496E-9B29-5D6A394B0567}" type="pres">
      <dgm:prSet presAssocID="{3A43CD0A-72C3-46A1-A4D9-CCBD02E2758F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6151DC7-C757-41CC-8F29-B62A03346D73}" type="pres">
      <dgm:prSet presAssocID="{A406DEC9-F4FC-46FA-990D-B17CE03A41CB}" presName="sibTrans" presStyleCnt="0"/>
      <dgm:spPr/>
    </dgm:pt>
    <dgm:pt modelId="{066996AF-BEC6-4EFD-B29F-8B9B79FE82E7}" type="pres">
      <dgm:prSet presAssocID="{0C314C64-4FC2-492D-8BEE-5E809A3899E7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718A90-DD3D-48CF-93A8-4EF36A95C6AF}" type="pres">
      <dgm:prSet presAssocID="{63DE6E90-6A46-441C-B7B1-68AC8701770D}" presName="sibTrans" presStyleCnt="0"/>
      <dgm:spPr/>
    </dgm:pt>
    <dgm:pt modelId="{5B1F2A19-3198-46C5-8152-E080C2D3E6EE}" type="pres">
      <dgm:prSet presAssocID="{DD30AA66-6DA5-4050-B8A9-1D2D4AC699C1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62DEE1F-AC41-4E0D-AD1F-CF0D3D1D2C57}" type="pres">
      <dgm:prSet presAssocID="{2746E0B4-13AB-46BF-B319-D6340F685DBF}" presName="sibTrans" presStyleCnt="0"/>
      <dgm:spPr/>
    </dgm:pt>
    <dgm:pt modelId="{A4E3B9CF-90B1-4614-A586-5F4285669115}" type="pres">
      <dgm:prSet presAssocID="{2640ED16-7E82-471E-BB7E-5BB673F7BD29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A8DDCB7-ABAC-4657-B365-7DB8584804D7}" type="pres">
      <dgm:prSet presAssocID="{37B1E80D-6F9A-418D-9B5D-EA7AA10A25A2}" presName="sibTrans" presStyleCnt="0"/>
      <dgm:spPr/>
    </dgm:pt>
    <dgm:pt modelId="{B67FF79F-D78B-433F-BB5F-693FAB067492}" type="pres">
      <dgm:prSet presAssocID="{76B3F540-0199-4A08-AB2D-BC57433FFF31}" presName="node" presStyleLbl="node1" presStyleIdx="7" presStyleCnt="9" custLinFactNeighborX="0" custLinFactNeighborY="169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4F0F00-A848-4CA0-823E-004CE54E9A4D}" type="pres">
      <dgm:prSet presAssocID="{277878A7-CEE0-4C7A-848B-A178C98D37C1}" presName="sibTrans" presStyleCnt="0"/>
      <dgm:spPr/>
    </dgm:pt>
    <dgm:pt modelId="{5399572E-D72C-4373-90F7-2A25A1A0739E}" type="pres">
      <dgm:prSet presAssocID="{1E858333-7233-4016-92F3-25D0E77E35CD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8DDE755-DC7B-45F0-B528-8FF6F16F494E}" srcId="{F549A2DA-E957-42B5-8486-61231190E9C7}" destId="{2F59E613-1F49-49BF-BD79-AFABA147BE1D}" srcOrd="1" destOrd="0" parTransId="{111B09F6-0FD7-4031-B1FA-72CBED721D2B}" sibTransId="{C7E27E0A-A044-41AC-9373-CAE5A9F43CE0}"/>
    <dgm:cxn modelId="{A6F3CFA3-2DB0-402F-8EFF-B517BE07475A}" type="presOf" srcId="{BC7DB5EF-4E01-425B-8A9E-371B8057CF1F}" destId="{7D8F0055-463D-40E4-B740-88A22B57BD68}" srcOrd="0" destOrd="0" presId="urn:microsoft.com/office/officeart/2005/8/layout/default"/>
    <dgm:cxn modelId="{9C8418D9-234A-4BEE-8D05-965B1B5AEEC4}" type="presOf" srcId="{1E858333-7233-4016-92F3-25D0E77E35CD}" destId="{5399572E-D72C-4373-90F7-2A25A1A0739E}" srcOrd="0" destOrd="0" presId="urn:microsoft.com/office/officeart/2005/8/layout/default"/>
    <dgm:cxn modelId="{A158D2F9-4D27-42F5-BDE4-51524F7C2743}" type="presOf" srcId="{2640ED16-7E82-471E-BB7E-5BB673F7BD29}" destId="{A4E3B9CF-90B1-4614-A586-5F4285669115}" srcOrd="0" destOrd="0" presId="urn:microsoft.com/office/officeart/2005/8/layout/default"/>
    <dgm:cxn modelId="{4CDCAC16-2BFE-4FFB-87AB-8C1152373218}" type="presOf" srcId="{3A43CD0A-72C3-46A1-A4D9-CCBD02E2758F}" destId="{800B0D4C-01CE-496E-9B29-5D6A394B0567}" srcOrd="0" destOrd="0" presId="urn:microsoft.com/office/officeart/2005/8/layout/default"/>
    <dgm:cxn modelId="{32ECB988-E629-42A8-A36E-04D3ECE514D9}" type="presOf" srcId="{DBB42EB7-D7D3-4299-8E12-4CB857C77439}" destId="{382114AE-60D0-4A4F-B6F6-9B85973A8774}" srcOrd="0" destOrd="0" presId="urn:microsoft.com/office/officeart/2005/8/layout/default"/>
    <dgm:cxn modelId="{C344FAFE-8B47-4760-9A88-60C27F4CF98E}" srcId="{F549A2DA-E957-42B5-8486-61231190E9C7}" destId="{DBB42EB7-D7D3-4299-8E12-4CB857C77439}" srcOrd="2" destOrd="0" parTransId="{4D012B13-16E1-408F-8F28-FE8F38ECCC44}" sibTransId="{A97AA6FC-1C9A-4BB3-90FB-8DEDB6610D00}"/>
    <dgm:cxn modelId="{715EA278-F0C5-4552-B3F4-9408864C9650}" type="presOf" srcId="{DD30AA66-6DA5-4050-B8A9-1D2D4AC699C1}" destId="{5B1F2A19-3198-46C5-8152-E080C2D3E6EE}" srcOrd="0" destOrd="0" presId="urn:microsoft.com/office/officeart/2005/8/layout/default"/>
    <dgm:cxn modelId="{1DA69661-BC05-45B4-857D-E1B9D26C4412}" srcId="{F549A2DA-E957-42B5-8486-61231190E9C7}" destId="{3A43CD0A-72C3-46A1-A4D9-CCBD02E2758F}" srcOrd="3" destOrd="0" parTransId="{F9512E7D-ACBF-4F3F-8902-647E68AD46A3}" sibTransId="{A406DEC9-F4FC-46FA-990D-B17CE03A41CB}"/>
    <dgm:cxn modelId="{4E1BCF67-C8DA-4768-A90E-767C5622C24B}" srcId="{F549A2DA-E957-42B5-8486-61231190E9C7}" destId="{2640ED16-7E82-471E-BB7E-5BB673F7BD29}" srcOrd="6" destOrd="0" parTransId="{2E323985-2E45-4B4D-82ED-06920E22782B}" sibTransId="{37B1E80D-6F9A-418D-9B5D-EA7AA10A25A2}"/>
    <dgm:cxn modelId="{DD0E029C-E29B-467C-A29B-A7A977F0EC82}" type="presOf" srcId="{76B3F540-0199-4A08-AB2D-BC57433FFF31}" destId="{B67FF79F-D78B-433F-BB5F-693FAB067492}" srcOrd="0" destOrd="0" presId="urn:microsoft.com/office/officeart/2005/8/layout/default"/>
    <dgm:cxn modelId="{DACCDA3B-2E67-427A-8EEC-7E285BD06BFF}" srcId="{F549A2DA-E957-42B5-8486-61231190E9C7}" destId="{76B3F540-0199-4A08-AB2D-BC57433FFF31}" srcOrd="7" destOrd="0" parTransId="{93618E71-F845-4C24-8749-41CB89DC7C80}" sibTransId="{277878A7-CEE0-4C7A-848B-A178C98D37C1}"/>
    <dgm:cxn modelId="{8EA5F99C-BDA1-4406-B56C-F296EEA811D7}" srcId="{F549A2DA-E957-42B5-8486-61231190E9C7}" destId="{BC7DB5EF-4E01-425B-8A9E-371B8057CF1F}" srcOrd="0" destOrd="0" parTransId="{05D0DE6D-869E-4A08-9718-9F19F1C0EC15}" sibTransId="{ACCE9C74-8510-400F-B338-D67A59C48320}"/>
    <dgm:cxn modelId="{61D60097-3FB3-44D8-B1D0-A683D9ACC57E}" type="presOf" srcId="{F549A2DA-E957-42B5-8486-61231190E9C7}" destId="{2B26CEA9-3FE9-473B-BBBA-4E973FC77A9A}" srcOrd="0" destOrd="0" presId="urn:microsoft.com/office/officeart/2005/8/layout/default"/>
    <dgm:cxn modelId="{1E526C4A-8194-410A-902A-3733A4D6DDA0}" srcId="{F549A2DA-E957-42B5-8486-61231190E9C7}" destId="{0C314C64-4FC2-492D-8BEE-5E809A3899E7}" srcOrd="4" destOrd="0" parTransId="{029DD581-5C33-46BD-A1AB-64F62EDA0219}" sibTransId="{63DE6E90-6A46-441C-B7B1-68AC8701770D}"/>
    <dgm:cxn modelId="{C996E35E-DDB5-4AA0-9D3B-1A760A064428}" srcId="{F549A2DA-E957-42B5-8486-61231190E9C7}" destId="{DD30AA66-6DA5-4050-B8A9-1D2D4AC699C1}" srcOrd="5" destOrd="0" parTransId="{58ADBA43-929F-4C21-A51B-4152BB83349A}" sibTransId="{2746E0B4-13AB-46BF-B319-D6340F685DBF}"/>
    <dgm:cxn modelId="{0C830445-354F-4AEF-B000-F8FC630C168F}" type="presOf" srcId="{0C314C64-4FC2-492D-8BEE-5E809A3899E7}" destId="{066996AF-BEC6-4EFD-B29F-8B9B79FE82E7}" srcOrd="0" destOrd="0" presId="urn:microsoft.com/office/officeart/2005/8/layout/default"/>
    <dgm:cxn modelId="{CE402668-468D-4BF1-BB53-53E28CAF443D}" srcId="{F549A2DA-E957-42B5-8486-61231190E9C7}" destId="{1E858333-7233-4016-92F3-25D0E77E35CD}" srcOrd="8" destOrd="0" parTransId="{001E4F2B-0E60-44DE-B6B1-D88FC854DBF1}" sibTransId="{3AA800AA-571B-48F5-B7BD-666867DBDAFD}"/>
    <dgm:cxn modelId="{CEDA2340-1508-4C34-BFF1-1F6C8D2A626D}" type="presOf" srcId="{2F59E613-1F49-49BF-BD79-AFABA147BE1D}" destId="{C461E2EB-1091-4432-9124-FFE2CC84EFFC}" srcOrd="0" destOrd="0" presId="urn:microsoft.com/office/officeart/2005/8/layout/default"/>
    <dgm:cxn modelId="{544114EF-FE79-4345-8D32-905562607D1F}" type="presParOf" srcId="{2B26CEA9-3FE9-473B-BBBA-4E973FC77A9A}" destId="{7D8F0055-463D-40E4-B740-88A22B57BD68}" srcOrd="0" destOrd="0" presId="urn:microsoft.com/office/officeart/2005/8/layout/default"/>
    <dgm:cxn modelId="{CF3616AD-B267-4526-9ED1-960C7BDF3494}" type="presParOf" srcId="{2B26CEA9-3FE9-473B-BBBA-4E973FC77A9A}" destId="{F03859B6-F26E-4426-8603-53C7C4ECAE95}" srcOrd="1" destOrd="0" presId="urn:microsoft.com/office/officeart/2005/8/layout/default"/>
    <dgm:cxn modelId="{1C1A94B4-5750-48ED-AD41-65EC2A086C73}" type="presParOf" srcId="{2B26CEA9-3FE9-473B-BBBA-4E973FC77A9A}" destId="{C461E2EB-1091-4432-9124-FFE2CC84EFFC}" srcOrd="2" destOrd="0" presId="urn:microsoft.com/office/officeart/2005/8/layout/default"/>
    <dgm:cxn modelId="{2D739F29-CAD0-416A-82FD-9F9A6DC23726}" type="presParOf" srcId="{2B26CEA9-3FE9-473B-BBBA-4E973FC77A9A}" destId="{DBC43BD3-0A30-43D6-BC5B-22D799D0EB80}" srcOrd="3" destOrd="0" presId="urn:microsoft.com/office/officeart/2005/8/layout/default"/>
    <dgm:cxn modelId="{CD71C4FD-83F9-41E6-86C7-EBBF5A11A32A}" type="presParOf" srcId="{2B26CEA9-3FE9-473B-BBBA-4E973FC77A9A}" destId="{382114AE-60D0-4A4F-B6F6-9B85973A8774}" srcOrd="4" destOrd="0" presId="urn:microsoft.com/office/officeart/2005/8/layout/default"/>
    <dgm:cxn modelId="{C5D84EBB-A219-4B58-A8B6-ABBAF100DFDE}" type="presParOf" srcId="{2B26CEA9-3FE9-473B-BBBA-4E973FC77A9A}" destId="{F81DA961-BE7D-4FFB-BF19-76B14E375674}" srcOrd="5" destOrd="0" presId="urn:microsoft.com/office/officeart/2005/8/layout/default"/>
    <dgm:cxn modelId="{39754391-C1A9-41B2-B289-7361500412FF}" type="presParOf" srcId="{2B26CEA9-3FE9-473B-BBBA-4E973FC77A9A}" destId="{800B0D4C-01CE-496E-9B29-5D6A394B0567}" srcOrd="6" destOrd="0" presId="urn:microsoft.com/office/officeart/2005/8/layout/default"/>
    <dgm:cxn modelId="{453661DB-031C-4A9A-8611-AA238C774BCA}" type="presParOf" srcId="{2B26CEA9-3FE9-473B-BBBA-4E973FC77A9A}" destId="{46151DC7-C757-41CC-8F29-B62A03346D73}" srcOrd="7" destOrd="0" presId="urn:microsoft.com/office/officeart/2005/8/layout/default"/>
    <dgm:cxn modelId="{812EDCBF-1088-4C0C-8AC6-181CE8C1D202}" type="presParOf" srcId="{2B26CEA9-3FE9-473B-BBBA-4E973FC77A9A}" destId="{066996AF-BEC6-4EFD-B29F-8B9B79FE82E7}" srcOrd="8" destOrd="0" presId="urn:microsoft.com/office/officeart/2005/8/layout/default"/>
    <dgm:cxn modelId="{1892DDCA-68BA-4749-87E4-3CAB573FEA66}" type="presParOf" srcId="{2B26CEA9-3FE9-473B-BBBA-4E973FC77A9A}" destId="{84718A90-DD3D-48CF-93A8-4EF36A95C6AF}" srcOrd="9" destOrd="0" presId="urn:microsoft.com/office/officeart/2005/8/layout/default"/>
    <dgm:cxn modelId="{D8B31DD8-A9DE-49AF-BADB-2D25D0D09606}" type="presParOf" srcId="{2B26CEA9-3FE9-473B-BBBA-4E973FC77A9A}" destId="{5B1F2A19-3198-46C5-8152-E080C2D3E6EE}" srcOrd="10" destOrd="0" presId="urn:microsoft.com/office/officeart/2005/8/layout/default"/>
    <dgm:cxn modelId="{465BC879-CC7A-4446-95E8-3A3114DF6ACC}" type="presParOf" srcId="{2B26CEA9-3FE9-473B-BBBA-4E973FC77A9A}" destId="{462DEE1F-AC41-4E0D-AD1F-CF0D3D1D2C57}" srcOrd="11" destOrd="0" presId="urn:microsoft.com/office/officeart/2005/8/layout/default"/>
    <dgm:cxn modelId="{E0166B2F-97DC-436D-9345-408FE11EBD48}" type="presParOf" srcId="{2B26CEA9-3FE9-473B-BBBA-4E973FC77A9A}" destId="{A4E3B9CF-90B1-4614-A586-5F4285669115}" srcOrd="12" destOrd="0" presId="urn:microsoft.com/office/officeart/2005/8/layout/default"/>
    <dgm:cxn modelId="{111DA3AB-FFEE-4F6B-8427-F6F15B6B94F1}" type="presParOf" srcId="{2B26CEA9-3FE9-473B-BBBA-4E973FC77A9A}" destId="{9A8DDCB7-ABAC-4657-B365-7DB8584804D7}" srcOrd="13" destOrd="0" presId="urn:microsoft.com/office/officeart/2005/8/layout/default"/>
    <dgm:cxn modelId="{D6316A36-70D6-4F5E-9E02-128323840CCC}" type="presParOf" srcId="{2B26CEA9-3FE9-473B-BBBA-4E973FC77A9A}" destId="{B67FF79F-D78B-433F-BB5F-693FAB067492}" srcOrd="14" destOrd="0" presId="urn:microsoft.com/office/officeart/2005/8/layout/default"/>
    <dgm:cxn modelId="{157E502C-5B62-47E3-9B7D-6E1796459035}" type="presParOf" srcId="{2B26CEA9-3FE9-473B-BBBA-4E973FC77A9A}" destId="{B34F0F00-A848-4CA0-823E-004CE54E9A4D}" srcOrd="15" destOrd="0" presId="urn:microsoft.com/office/officeart/2005/8/layout/default"/>
    <dgm:cxn modelId="{3827E10D-5AFD-414B-A32B-2D4C3AB753F7}" type="presParOf" srcId="{2B26CEA9-3FE9-473B-BBBA-4E973FC77A9A}" destId="{5399572E-D72C-4373-90F7-2A25A1A0739E}" srcOrd="1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01A219C-35DE-4EAE-9E50-AD9C2C1109BA}" type="doc">
      <dgm:prSet loTypeId="urn:microsoft.com/office/officeart/2005/8/layout/lProcess3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DD8C02D8-9083-49D9-986B-2E4252DB0406}">
      <dgm:prSet phldrT="[Текст]"/>
      <dgm:spPr/>
      <dgm:t>
        <a:bodyPr/>
        <a:lstStyle/>
        <a:p>
          <a:r>
            <a:rPr lang="ru-RU" dirty="0"/>
            <a:t>Учитель, воспитатель </a:t>
          </a:r>
        </a:p>
      </dgm:t>
    </dgm:pt>
    <dgm:pt modelId="{E1F2D52F-160E-4414-9D71-27F3C1A3CE2F}" type="parTrans" cxnId="{D0480770-AF29-449C-8B46-7279ECB2F1FE}">
      <dgm:prSet/>
      <dgm:spPr/>
      <dgm:t>
        <a:bodyPr/>
        <a:lstStyle/>
        <a:p>
          <a:endParaRPr lang="ru-RU"/>
        </a:p>
      </dgm:t>
    </dgm:pt>
    <dgm:pt modelId="{693F4544-7191-470D-A94D-5DA1C0A3C95C}" type="sibTrans" cxnId="{D0480770-AF29-449C-8B46-7279ECB2F1FE}">
      <dgm:prSet/>
      <dgm:spPr/>
      <dgm:t>
        <a:bodyPr/>
        <a:lstStyle/>
        <a:p>
          <a:endParaRPr lang="ru-RU"/>
        </a:p>
      </dgm:t>
    </dgm:pt>
    <dgm:pt modelId="{D33EFC2C-123E-483C-853C-76DAB1CC3827}">
      <dgm:prSet phldrT="[Текст]"/>
      <dgm:spPr/>
      <dgm:t>
        <a:bodyPr/>
        <a:lstStyle/>
        <a:p>
          <a:r>
            <a:rPr lang="ru-RU" dirty="0"/>
            <a:t>Более 50 документов </a:t>
          </a:r>
        </a:p>
      </dgm:t>
    </dgm:pt>
    <dgm:pt modelId="{73E3E5EA-C99C-4BC0-99B1-E97D69DD3737}" type="parTrans" cxnId="{3B36966A-DBB5-4879-9613-E058ABABF308}">
      <dgm:prSet/>
      <dgm:spPr/>
      <dgm:t>
        <a:bodyPr/>
        <a:lstStyle/>
        <a:p>
          <a:endParaRPr lang="ru-RU"/>
        </a:p>
      </dgm:t>
    </dgm:pt>
    <dgm:pt modelId="{5BD3BD75-14C8-4DC0-AF66-4C935EECD30A}" type="sibTrans" cxnId="{3B36966A-DBB5-4879-9613-E058ABABF308}">
      <dgm:prSet/>
      <dgm:spPr/>
      <dgm:t>
        <a:bodyPr/>
        <a:lstStyle/>
        <a:p>
          <a:endParaRPr lang="ru-RU"/>
        </a:p>
      </dgm:t>
    </dgm:pt>
    <dgm:pt modelId="{8DCC1845-AE95-49FD-93C5-B17AFE975995}">
      <dgm:prSet phldrT="[Текст]"/>
      <dgm:spPr/>
      <dgm:t>
        <a:bodyPr/>
        <a:lstStyle/>
        <a:p>
          <a:r>
            <a:rPr lang="ru-RU" dirty="0"/>
            <a:t>Образовательные</a:t>
          </a:r>
          <a:r>
            <a:rPr lang="ru-RU" baseline="0" dirty="0"/>
            <a:t> организации </a:t>
          </a:r>
          <a:endParaRPr lang="ru-RU" dirty="0"/>
        </a:p>
      </dgm:t>
    </dgm:pt>
    <dgm:pt modelId="{AD65150F-8DD7-4C09-A447-EC0945ECFADC}" type="parTrans" cxnId="{86D5E22C-5BCA-4131-9D91-2469C1095A6F}">
      <dgm:prSet/>
      <dgm:spPr/>
      <dgm:t>
        <a:bodyPr/>
        <a:lstStyle/>
        <a:p>
          <a:endParaRPr lang="ru-RU"/>
        </a:p>
      </dgm:t>
    </dgm:pt>
    <dgm:pt modelId="{DCE3A045-8B61-4D25-A5C4-4309A2575FC2}" type="sibTrans" cxnId="{86D5E22C-5BCA-4131-9D91-2469C1095A6F}">
      <dgm:prSet/>
      <dgm:spPr/>
      <dgm:t>
        <a:bodyPr/>
        <a:lstStyle/>
        <a:p>
          <a:endParaRPr lang="ru-RU"/>
        </a:p>
      </dgm:t>
    </dgm:pt>
    <dgm:pt modelId="{16786549-E32A-4D9D-980A-EA94B4ECE882}">
      <dgm:prSet phldrT="[Текст]"/>
      <dgm:spPr/>
      <dgm:t>
        <a:bodyPr/>
        <a:lstStyle/>
        <a:p>
          <a:r>
            <a:rPr lang="ru-RU" dirty="0"/>
            <a:t>Более 250 писем в месяц </a:t>
          </a:r>
        </a:p>
      </dgm:t>
    </dgm:pt>
    <dgm:pt modelId="{3815E13A-31A9-4DA7-AB64-65FFB2A71866}" type="parTrans" cxnId="{2CB54CDF-8A39-4868-9271-FE54898EF33B}">
      <dgm:prSet/>
      <dgm:spPr/>
      <dgm:t>
        <a:bodyPr/>
        <a:lstStyle/>
        <a:p>
          <a:endParaRPr lang="ru-RU"/>
        </a:p>
      </dgm:t>
    </dgm:pt>
    <dgm:pt modelId="{7BAA3352-C01C-4C2D-85D6-85BBEAAAFFF8}" type="sibTrans" cxnId="{2CB54CDF-8A39-4868-9271-FE54898EF33B}">
      <dgm:prSet/>
      <dgm:spPr/>
      <dgm:t>
        <a:bodyPr/>
        <a:lstStyle/>
        <a:p>
          <a:endParaRPr lang="ru-RU"/>
        </a:p>
      </dgm:t>
    </dgm:pt>
    <dgm:pt modelId="{46FDA667-9A2B-47B9-B8AE-0E36815CEC45}">
      <dgm:prSet phldrT="[Текст]"/>
      <dgm:spPr/>
      <dgm:t>
        <a:bodyPr/>
        <a:lstStyle/>
        <a:p>
          <a:r>
            <a:rPr lang="ru-RU" dirty="0"/>
            <a:t>РОИВ</a:t>
          </a:r>
        </a:p>
      </dgm:t>
    </dgm:pt>
    <dgm:pt modelId="{FB3027B8-487F-4265-993B-89C5542315EF}" type="parTrans" cxnId="{FD572B55-403A-4F57-AD86-C7B5FF78D321}">
      <dgm:prSet/>
      <dgm:spPr/>
      <dgm:t>
        <a:bodyPr/>
        <a:lstStyle/>
        <a:p>
          <a:endParaRPr lang="ru-RU"/>
        </a:p>
      </dgm:t>
    </dgm:pt>
    <dgm:pt modelId="{BA0227A2-E9DB-4D86-A21C-11F4DD03B268}" type="sibTrans" cxnId="{FD572B55-403A-4F57-AD86-C7B5FF78D321}">
      <dgm:prSet/>
      <dgm:spPr/>
      <dgm:t>
        <a:bodyPr/>
        <a:lstStyle/>
        <a:p>
          <a:endParaRPr lang="ru-RU"/>
        </a:p>
      </dgm:t>
    </dgm:pt>
    <dgm:pt modelId="{9B37D91F-F777-4F5E-823C-D9312546FBA7}">
      <dgm:prSet phldrT="[Текст]"/>
      <dgm:spPr/>
      <dgm:t>
        <a:bodyPr/>
        <a:lstStyle/>
        <a:p>
          <a:r>
            <a:rPr lang="ru-RU" dirty="0"/>
            <a:t>750 – 3500 писем в месяц </a:t>
          </a:r>
        </a:p>
      </dgm:t>
    </dgm:pt>
    <dgm:pt modelId="{3FD17795-D2C5-475D-86D7-B9DC1A19B0AD}" type="parTrans" cxnId="{DC16CB4A-E562-4B53-8134-6978DAC0F478}">
      <dgm:prSet/>
      <dgm:spPr/>
      <dgm:t>
        <a:bodyPr/>
        <a:lstStyle/>
        <a:p>
          <a:endParaRPr lang="ru-RU"/>
        </a:p>
      </dgm:t>
    </dgm:pt>
    <dgm:pt modelId="{3449659F-0B0E-4A4E-A100-D84B31BFDA14}" type="sibTrans" cxnId="{DC16CB4A-E562-4B53-8134-6978DAC0F478}">
      <dgm:prSet/>
      <dgm:spPr/>
      <dgm:t>
        <a:bodyPr/>
        <a:lstStyle/>
        <a:p>
          <a:endParaRPr lang="ru-RU"/>
        </a:p>
      </dgm:t>
    </dgm:pt>
    <dgm:pt modelId="{12303817-16F5-4292-AA86-51A5CC2EBECE}" type="pres">
      <dgm:prSet presAssocID="{B01A219C-35DE-4EAE-9E50-AD9C2C1109BA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A1A8A008-931A-4069-A3FB-EE1B272E7978}" type="pres">
      <dgm:prSet presAssocID="{DD8C02D8-9083-49D9-986B-2E4252DB0406}" presName="horFlow" presStyleCnt="0"/>
      <dgm:spPr/>
    </dgm:pt>
    <dgm:pt modelId="{8F2EE444-6910-4ABB-8299-E5B26AEAB7E2}" type="pres">
      <dgm:prSet presAssocID="{DD8C02D8-9083-49D9-986B-2E4252DB0406}" presName="bigChev" presStyleLbl="node1" presStyleIdx="0" presStyleCnt="3"/>
      <dgm:spPr/>
      <dgm:t>
        <a:bodyPr/>
        <a:lstStyle/>
        <a:p>
          <a:endParaRPr lang="ru-RU"/>
        </a:p>
      </dgm:t>
    </dgm:pt>
    <dgm:pt modelId="{02A798B3-3FCC-41F9-9685-8341FC0A128C}" type="pres">
      <dgm:prSet presAssocID="{73E3E5EA-C99C-4BC0-99B1-E97D69DD3737}" presName="parTrans" presStyleCnt="0"/>
      <dgm:spPr/>
    </dgm:pt>
    <dgm:pt modelId="{5CC7C8CF-9FB5-4512-BCB1-1651EC5B82F9}" type="pres">
      <dgm:prSet presAssocID="{D33EFC2C-123E-483C-853C-76DAB1CC3827}" presName="node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B800158-8777-4DAE-9222-0F14BB85D358}" type="pres">
      <dgm:prSet presAssocID="{DD8C02D8-9083-49D9-986B-2E4252DB0406}" presName="vSp" presStyleCnt="0"/>
      <dgm:spPr/>
    </dgm:pt>
    <dgm:pt modelId="{570411EE-BE29-44C4-B0C0-0E6014D7519B}" type="pres">
      <dgm:prSet presAssocID="{8DCC1845-AE95-49FD-93C5-B17AFE975995}" presName="horFlow" presStyleCnt="0"/>
      <dgm:spPr/>
    </dgm:pt>
    <dgm:pt modelId="{35908F70-0B31-4F04-840E-75F6CF283F59}" type="pres">
      <dgm:prSet presAssocID="{8DCC1845-AE95-49FD-93C5-B17AFE975995}" presName="bigChev" presStyleLbl="node1" presStyleIdx="1" presStyleCnt="3"/>
      <dgm:spPr/>
      <dgm:t>
        <a:bodyPr/>
        <a:lstStyle/>
        <a:p>
          <a:endParaRPr lang="ru-RU"/>
        </a:p>
      </dgm:t>
    </dgm:pt>
    <dgm:pt modelId="{FC5CE6D7-ABD7-4BA8-896D-C6E8CA87FAFD}" type="pres">
      <dgm:prSet presAssocID="{3815E13A-31A9-4DA7-AB64-65FFB2A71866}" presName="parTrans" presStyleCnt="0"/>
      <dgm:spPr/>
    </dgm:pt>
    <dgm:pt modelId="{F3D38F91-FD15-45E8-BB06-B0B1ED6951A1}" type="pres">
      <dgm:prSet presAssocID="{16786549-E32A-4D9D-980A-EA94B4ECE882}" presName="node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9BF8F74-BA63-4E16-B576-CEAAEE932EAD}" type="pres">
      <dgm:prSet presAssocID="{8DCC1845-AE95-49FD-93C5-B17AFE975995}" presName="vSp" presStyleCnt="0"/>
      <dgm:spPr/>
    </dgm:pt>
    <dgm:pt modelId="{F6C2EB25-5763-4DEE-8888-CCA1AE6BEDBB}" type="pres">
      <dgm:prSet presAssocID="{46FDA667-9A2B-47B9-B8AE-0E36815CEC45}" presName="horFlow" presStyleCnt="0"/>
      <dgm:spPr/>
    </dgm:pt>
    <dgm:pt modelId="{0BF4964F-FDBA-43B6-8059-0B576EC90ECE}" type="pres">
      <dgm:prSet presAssocID="{46FDA667-9A2B-47B9-B8AE-0E36815CEC45}" presName="bigChev" presStyleLbl="node1" presStyleIdx="2" presStyleCnt="3"/>
      <dgm:spPr/>
      <dgm:t>
        <a:bodyPr/>
        <a:lstStyle/>
        <a:p>
          <a:endParaRPr lang="ru-RU"/>
        </a:p>
      </dgm:t>
    </dgm:pt>
    <dgm:pt modelId="{3D547752-70C2-4949-95B1-4C6BB1A2F5B7}" type="pres">
      <dgm:prSet presAssocID="{3FD17795-D2C5-475D-86D7-B9DC1A19B0AD}" presName="parTrans" presStyleCnt="0"/>
      <dgm:spPr/>
    </dgm:pt>
    <dgm:pt modelId="{15DC17A0-52AF-483C-947B-3CFC09969B4F}" type="pres">
      <dgm:prSet presAssocID="{9B37D91F-F777-4F5E-823C-D9312546FBA7}" presName="node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D572B55-403A-4F57-AD86-C7B5FF78D321}" srcId="{B01A219C-35DE-4EAE-9E50-AD9C2C1109BA}" destId="{46FDA667-9A2B-47B9-B8AE-0E36815CEC45}" srcOrd="2" destOrd="0" parTransId="{FB3027B8-487F-4265-993B-89C5542315EF}" sibTransId="{BA0227A2-E9DB-4D86-A21C-11F4DD03B268}"/>
    <dgm:cxn modelId="{9B9B8723-0D15-4440-8E12-1237F172B33A}" type="presOf" srcId="{9B37D91F-F777-4F5E-823C-D9312546FBA7}" destId="{15DC17A0-52AF-483C-947B-3CFC09969B4F}" srcOrd="0" destOrd="0" presId="urn:microsoft.com/office/officeart/2005/8/layout/lProcess3"/>
    <dgm:cxn modelId="{D0480770-AF29-449C-8B46-7279ECB2F1FE}" srcId="{B01A219C-35DE-4EAE-9E50-AD9C2C1109BA}" destId="{DD8C02D8-9083-49D9-986B-2E4252DB0406}" srcOrd="0" destOrd="0" parTransId="{E1F2D52F-160E-4414-9D71-27F3C1A3CE2F}" sibTransId="{693F4544-7191-470D-A94D-5DA1C0A3C95C}"/>
    <dgm:cxn modelId="{6A4BBFA8-A462-4352-96FE-57DDC799FC41}" type="presOf" srcId="{D33EFC2C-123E-483C-853C-76DAB1CC3827}" destId="{5CC7C8CF-9FB5-4512-BCB1-1651EC5B82F9}" srcOrd="0" destOrd="0" presId="urn:microsoft.com/office/officeart/2005/8/layout/lProcess3"/>
    <dgm:cxn modelId="{55179FE7-1317-43CB-954D-5832F6D786A6}" type="presOf" srcId="{DD8C02D8-9083-49D9-986B-2E4252DB0406}" destId="{8F2EE444-6910-4ABB-8299-E5B26AEAB7E2}" srcOrd="0" destOrd="0" presId="urn:microsoft.com/office/officeart/2005/8/layout/lProcess3"/>
    <dgm:cxn modelId="{2CB54CDF-8A39-4868-9271-FE54898EF33B}" srcId="{8DCC1845-AE95-49FD-93C5-B17AFE975995}" destId="{16786549-E32A-4D9D-980A-EA94B4ECE882}" srcOrd="0" destOrd="0" parTransId="{3815E13A-31A9-4DA7-AB64-65FFB2A71866}" sibTransId="{7BAA3352-C01C-4C2D-85D6-85BBEAAAFFF8}"/>
    <dgm:cxn modelId="{DC16CB4A-E562-4B53-8134-6978DAC0F478}" srcId="{46FDA667-9A2B-47B9-B8AE-0E36815CEC45}" destId="{9B37D91F-F777-4F5E-823C-D9312546FBA7}" srcOrd="0" destOrd="0" parTransId="{3FD17795-D2C5-475D-86D7-B9DC1A19B0AD}" sibTransId="{3449659F-0B0E-4A4E-A100-D84B31BFDA14}"/>
    <dgm:cxn modelId="{86D5E22C-5BCA-4131-9D91-2469C1095A6F}" srcId="{B01A219C-35DE-4EAE-9E50-AD9C2C1109BA}" destId="{8DCC1845-AE95-49FD-93C5-B17AFE975995}" srcOrd="1" destOrd="0" parTransId="{AD65150F-8DD7-4C09-A447-EC0945ECFADC}" sibTransId="{DCE3A045-8B61-4D25-A5C4-4309A2575FC2}"/>
    <dgm:cxn modelId="{567BB715-A598-476A-9E42-E95C23908047}" type="presOf" srcId="{16786549-E32A-4D9D-980A-EA94B4ECE882}" destId="{F3D38F91-FD15-45E8-BB06-B0B1ED6951A1}" srcOrd="0" destOrd="0" presId="urn:microsoft.com/office/officeart/2005/8/layout/lProcess3"/>
    <dgm:cxn modelId="{624BFEED-2830-43D0-8F9E-12D8568FE74E}" type="presOf" srcId="{46FDA667-9A2B-47B9-B8AE-0E36815CEC45}" destId="{0BF4964F-FDBA-43B6-8059-0B576EC90ECE}" srcOrd="0" destOrd="0" presId="urn:microsoft.com/office/officeart/2005/8/layout/lProcess3"/>
    <dgm:cxn modelId="{099698E4-B230-4392-9B74-02EC438FE17B}" type="presOf" srcId="{8DCC1845-AE95-49FD-93C5-B17AFE975995}" destId="{35908F70-0B31-4F04-840E-75F6CF283F59}" srcOrd="0" destOrd="0" presId="urn:microsoft.com/office/officeart/2005/8/layout/lProcess3"/>
    <dgm:cxn modelId="{3B36966A-DBB5-4879-9613-E058ABABF308}" srcId="{DD8C02D8-9083-49D9-986B-2E4252DB0406}" destId="{D33EFC2C-123E-483C-853C-76DAB1CC3827}" srcOrd="0" destOrd="0" parTransId="{73E3E5EA-C99C-4BC0-99B1-E97D69DD3737}" sibTransId="{5BD3BD75-14C8-4DC0-AF66-4C935EECD30A}"/>
    <dgm:cxn modelId="{57C6B6D6-59F8-4E17-97C3-1E98D9264812}" type="presOf" srcId="{B01A219C-35DE-4EAE-9E50-AD9C2C1109BA}" destId="{12303817-16F5-4292-AA86-51A5CC2EBECE}" srcOrd="0" destOrd="0" presId="urn:microsoft.com/office/officeart/2005/8/layout/lProcess3"/>
    <dgm:cxn modelId="{EBC40FE0-88C7-4645-9EFA-98532296BA32}" type="presParOf" srcId="{12303817-16F5-4292-AA86-51A5CC2EBECE}" destId="{A1A8A008-931A-4069-A3FB-EE1B272E7978}" srcOrd="0" destOrd="0" presId="urn:microsoft.com/office/officeart/2005/8/layout/lProcess3"/>
    <dgm:cxn modelId="{1F3D39D9-AA4A-4DAD-BE3E-66F94BDB62AC}" type="presParOf" srcId="{A1A8A008-931A-4069-A3FB-EE1B272E7978}" destId="{8F2EE444-6910-4ABB-8299-E5B26AEAB7E2}" srcOrd="0" destOrd="0" presId="urn:microsoft.com/office/officeart/2005/8/layout/lProcess3"/>
    <dgm:cxn modelId="{D0050DC1-2DAC-4DEB-928E-4F03CA807E36}" type="presParOf" srcId="{A1A8A008-931A-4069-A3FB-EE1B272E7978}" destId="{02A798B3-3FCC-41F9-9685-8341FC0A128C}" srcOrd="1" destOrd="0" presId="urn:microsoft.com/office/officeart/2005/8/layout/lProcess3"/>
    <dgm:cxn modelId="{A0EB4A99-C3E8-459C-9D74-5B626D5A4D17}" type="presParOf" srcId="{A1A8A008-931A-4069-A3FB-EE1B272E7978}" destId="{5CC7C8CF-9FB5-4512-BCB1-1651EC5B82F9}" srcOrd="2" destOrd="0" presId="urn:microsoft.com/office/officeart/2005/8/layout/lProcess3"/>
    <dgm:cxn modelId="{19745750-9F9A-4A0E-8DE9-1F0777228F49}" type="presParOf" srcId="{12303817-16F5-4292-AA86-51A5CC2EBECE}" destId="{FB800158-8777-4DAE-9222-0F14BB85D358}" srcOrd="1" destOrd="0" presId="urn:microsoft.com/office/officeart/2005/8/layout/lProcess3"/>
    <dgm:cxn modelId="{468DD793-7646-43F7-BA65-627519F3D047}" type="presParOf" srcId="{12303817-16F5-4292-AA86-51A5CC2EBECE}" destId="{570411EE-BE29-44C4-B0C0-0E6014D7519B}" srcOrd="2" destOrd="0" presId="urn:microsoft.com/office/officeart/2005/8/layout/lProcess3"/>
    <dgm:cxn modelId="{666859F7-A3A7-43F8-B2D2-B707136B800B}" type="presParOf" srcId="{570411EE-BE29-44C4-B0C0-0E6014D7519B}" destId="{35908F70-0B31-4F04-840E-75F6CF283F59}" srcOrd="0" destOrd="0" presId="urn:microsoft.com/office/officeart/2005/8/layout/lProcess3"/>
    <dgm:cxn modelId="{EE36ADFF-01CE-4789-A551-E93F6BF3E007}" type="presParOf" srcId="{570411EE-BE29-44C4-B0C0-0E6014D7519B}" destId="{FC5CE6D7-ABD7-4BA8-896D-C6E8CA87FAFD}" srcOrd="1" destOrd="0" presId="urn:microsoft.com/office/officeart/2005/8/layout/lProcess3"/>
    <dgm:cxn modelId="{3310D9FC-C969-44E6-81DD-584DBDF575DD}" type="presParOf" srcId="{570411EE-BE29-44C4-B0C0-0E6014D7519B}" destId="{F3D38F91-FD15-45E8-BB06-B0B1ED6951A1}" srcOrd="2" destOrd="0" presId="urn:microsoft.com/office/officeart/2005/8/layout/lProcess3"/>
    <dgm:cxn modelId="{5B94AF7D-C821-4DA7-A0B4-B90554088A11}" type="presParOf" srcId="{12303817-16F5-4292-AA86-51A5CC2EBECE}" destId="{39BF8F74-BA63-4E16-B576-CEAAEE932EAD}" srcOrd="3" destOrd="0" presId="urn:microsoft.com/office/officeart/2005/8/layout/lProcess3"/>
    <dgm:cxn modelId="{3F59D067-6A16-451D-85D5-52BD59669588}" type="presParOf" srcId="{12303817-16F5-4292-AA86-51A5CC2EBECE}" destId="{F6C2EB25-5763-4DEE-8888-CCA1AE6BEDBB}" srcOrd="4" destOrd="0" presId="urn:microsoft.com/office/officeart/2005/8/layout/lProcess3"/>
    <dgm:cxn modelId="{C2AD91E6-2362-41B8-8466-B2E8159456EF}" type="presParOf" srcId="{F6C2EB25-5763-4DEE-8888-CCA1AE6BEDBB}" destId="{0BF4964F-FDBA-43B6-8059-0B576EC90ECE}" srcOrd="0" destOrd="0" presId="urn:microsoft.com/office/officeart/2005/8/layout/lProcess3"/>
    <dgm:cxn modelId="{EAEB1269-C6FD-4319-BCD8-CB18502A39F0}" type="presParOf" srcId="{F6C2EB25-5763-4DEE-8888-CCA1AE6BEDBB}" destId="{3D547752-70C2-4949-95B1-4C6BB1A2F5B7}" srcOrd="1" destOrd="0" presId="urn:microsoft.com/office/officeart/2005/8/layout/lProcess3"/>
    <dgm:cxn modelId="{F5DD4540-F10D-4AF6-BE70-E914D677C904}" type="presParOf" srcId="{F6C2EB25-5763-4DEE-8888-CCA1AE6BEDBB}" destId="{15DC17A0-52AF-483C-947B-3CFC09969B4F}" srcOrd="2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549A2DA-E957-42B5-8486-61231190E9C7}" type="doc">
      <dgm:prSet loTypeId="urn:microsoft.com/office/officeart/2005/8/layout/default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ru-RU"/>
        </a:p>
      </dgm:t>
    </dgm:pt>
    <dgm:pt modelId="{BC7DB5EF-4E01-425B-8A9E-371B8057CF1F}">
      <dgm:prSet phldrT="[Текст]"/>
      <dgm:spPr/>
      <dgm:t>
        <a:bodyPr/>
        <a:lstStyle/>
        <a:p>
          <a:r>
            <a:rPr lang="ru-RU" dirty="0"/>
            <a:t> </a:t>
          </a:r>
          <a:r>
            <a:rPr lang="ru-RU" b="1" dirty="0">
              <a:solidFill>
                <a:schemeClr val="tx1"/>
              </a:solidFill>
            </a:rPr>
            <a:t>Министерство (управление) образования </a:t>
          </a:r>
        </a:p>
      </dgm:t>
    </dgm:pt>
    <dgm:pt modelId="{05D0DE6D-869E-4A08-9718-9F19F1C0EC15}" type="parTrans" cxnId="{8EA5F99C-BDA1-4406-B56C-F296EEA811D7}">
      <dgm:prSet/>
      <dgm:spPr/>
      <dgm:t>
        <a:bodyPr/>
        <a:lstStyle/>
        <a:p>
          <a:endParaRPr lang="ru-RU"/>
        </a:p>
      </dgm:t>
    </dgm:pt>
    <dgm:pt modelId="{ACCE9C74-8510-400F-B338-D67A59C48320}" type="sibTrans" cxnId="{8EA5F99C-BDA1-4406-B56C-F296EEA811D7}">
      <dgm:prSet/>
      <dgm:spPr/>
      <dgm:t>
        <a:bodyPr/>
        <a:lstStyle/>
        <a:p>
          <a:endParaRPr lang="ru-RU"/>
        </a:p>
      </dgm:t>
    </dgm:pt>
    <dgm:pt modelId="{2F59E613-1F49-49BF-BD79-AFABA147BE1D}">
      <dgm:prSet phldrT="[Текст]"/>
      <dgm:spPr/>
      <dgm:t>
        <a:bodyPr/>
        <a:lstStyle/>
        <a:p>
          <a:r>
            <a:rPr lang="ru-RU" dirty="0"/>
            <a:t> </a:t>
          </a:r>
          <a:r>
            <a:rPr lang="ru-RU" b="1" dirty="0">
              <a:solidFill>
                <a:schemeClr val="tx1"/>
              </a:solidFill>
            </a:rPr>
            <a:t>Районные отделы образования </a:t>
          </a:r>
        </a:p>
      </dgm:t>
    </dgm:pt>
    <dgm:pt modelId="{111B09F6-0FD7-4031-B1FA-72CBED721D2B}" type="parTrans" cxnId="{18DDE755-DC7B-45F0-B528-8FF6F16F494E}">
      <dgm:prSet/>
      <dgm:spPr/>
      <dgm:t>
        <a:bodyPr/>
        <a:lstStyle/>
        <a:p>
          <a:endParaRPr lang="ru-RU"/>
        </a:p>
      </dgm:t>
    </dgm:pt>
    <dgm:pt modelId="{C7E27E0A-A044-41AC-9373-CAE5A9F43CE0}" type="sibTrans" cxnId="{18DDE755-DC7B-45F0-B528-8FF6F16F494E}">
      <dgm:prSet/>
      <dgm:spPr/>
      <dgm:t>
        <a:bodyPr/>
        <a:lstStyle/>
        <a:p>
          <a:endParaRPr lang="ru-RU"/>
        </a:p>
      </dgm:t>
    </dgm:pt>
    <dgm:pt modelId="{DBB42EB7-D7D3-4299-8E12-4CB857C77439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ИРО, ИПК</a:t>
          </a:r>
        </a:p>
      </dgm:t>
    </dgm:pt>
    <dgm:pt modelId="{4D012B13-16E1-408F-8F28-FE8F38ECCC44}" type="parTrans" cxnId="{C344FAFE-8B47-4760-9A88-60C27F4CF98E}">
      <dgm:prSet/>
      <dgm:spPr/>
      <dgm:t>
        <a:bodyPr/>
        <a:lstStyle/>
        <a:p>
          <a:endParaRPr lang="ru-RU"/>
        </a:p>
      </dgm:t>
    </dgm:pt>
    <dgm:pt modelId="{A97AA6FC-1C9A-4BB3-90FB-8DEDB6610D00}" type="sibTrans" cxnId="{C344FAFE-8B47-4760-9A88-60C27F4CF98E}">
      <dgm:prSet/>
      <dgm:spPr/>
      <dgm:t>
        <a:bodyPr/>
        <a:lstStyle/>
        <a:p>
          <a:endParaRPr lang="ru-RU"/>
        </a:p>
      </dgm:t>
    </dgm:pt>
    <dgm:pt modelId="{3A43CD0A-72C3-46A1-A4D9-CCBD02E2758F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КДН</a:t>
          </a:r>
        </a:p>
      </dgm:t>
    </dgm:pt>
    <dgm:pt modelId="{F9512E7D-ACBF-4F3F-8902-647E68AD46A3}" type="parTrans" cxnId="{1DA69661-BC05-45B4-857D-E1B9D26C4412}">
      <dgm:prSet/>
      <dgm:spPr/>
      <dgm:t>
        <a:bodyPr/>
        <a:lstStyle/>
        <a:p>
          <a:endParaRPr lang="ru-RU"/>
        </a:p>
      </dgm:t>
    </dgm:pt>
    <dgm:pt modelId="{A406DEC9-F4FC-46FA-990D-B17CE03A41CB}" type="sibTrans" cxnId="{1DA69661-BC05-45B4-857D-E1B9D26C4412}">
      <dgm:prSet/>
      <dgm:spPr/>
      <dgm:t>
        <a:bodyPr/>
        <a:lstStyle/>
        <a:p>
          <a:endParaRPr lang="ru-RU"/>
        </a:p>
      </dgm:t>
    </dgm:pt>
    <dgm:pt modelId="{0C314C64-4FC2-492D-8BEE-5E809A3899E7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Прокуратура  </a:t>
          </a:r>
        </a:p>
      </dgm:t>
    </dgm:pt>
    <dgm:pt modelId="{029DD581-5C33-46BD-A1AB-64F62EDA0219}" type="parTrans" cxnId="{1E526C4A-8194-410A-902A-3733A4D6DDA0}">
      <dgm:prSet/>
      <dgm:spPr/>
      <dgm:t>
        <a:bodyPr/>
        <a:lstStyle/>
        <a:p>
          <a:endParaRPr lang="ru-RU"/>
        </a:p>
      </dgm:t>
    </dgm:pt>
    <dgm:pt modelId="{63DE6E90-6A46-441C-B7B1-68AC8701770D}" type="sibTrans" cxnId="{1E526C4A-8194-410A-902A-3733A4D6DDA0}">
      <dgm:prSet/>
      <dgm:spPr/>
      <dgm:t>
        <a:bodyPr/>
        <a:lstStyle/>
        <a:p>
          <a:endParaRPr lang="ru-RU"/>
        </a:p>
      </dgm:t>
    </dgm:pt>
    <dgm:pt modelId="{1E858333-7233-4016-92F3-25D0E77E35CD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егиональные образовательные и иные центры </a:t>
          </a:r>
        </a:p>
      </dgm:t>
    </dgm:pt>
    <dgm:pt modelId="{001E4F2B-0E60-44DE-B6B1-D88FC854DBF1}" type="parTrans" cxnId="{CE402668-468D-4BF1-BB53-53E28CAF443D}">
      <dgm:prSet/>
      <dgm:spPr/>
      <dgm:t>
        <a:bodyPr/>
        <a:lstStyle/>
        <a:p>
          <a:endParaRPr lang="ru-RU"/>
        </a:p>
      </dgm:t>
    </dgm:pt>
    <dgm:pt modelId="{3AA800AA-571B-48F5-B7BD-666867DBDAFD}" type="sibTrans" cxnId="{CE402668-468D-4BF1-BB53-53E28CAF443D}">
      <dgm:prSet/>
      <dgm:spPr/>
      <dgm:t>
        <a:bodyPr/>
        <a:lstStyle/>
        <a:p>
          <a:endParaRPr lang="ru-RU"/>
        </a:p>
      </dgm:t>
    </dgm:pt>
    <dgm:pt modelId="{DD30AA66-6DA5-4050-B8A9-1D2D4AC699C1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АНО </a:t>
          </a:r>
        </a:p>
      </dgm:t>
    </dgm:pt>
    <dgm:pt modelId="{58ADBA43-929F-4C21-A51B-4152BB83349A}" type="parTrans" cxnId="{C996E35E-DDB5-4AA0-9D3B-1A760A064428}">
      <dgm:prSet/>
      <dgm:spPr/>
      <dgm:t>
        <a:bodyPr/>
        <a:lstStyle/>
        <a:p>
          <a:endParaRPr lang="ru-RU"/>
        </a:p>
      </dgm:t>
    </dgm:pt>
    <dgm:pt modelId="{2746E0B4-13AB-46BF-B319-D6340F685DBF}" type="sibTrans" cxnId="{C996E35E-DDB5-4AA0-9D3B-1A760A064428}">
      <dgm:prSet/>
      <dgm:spPr/>
      <dgm:t>
        <a:bodyPr/>
        <a:lstStyle/>
        <a:p>
          <a:endParaRPr lang="ru-RU"/>
        </a:p>
      </dgm:t>
    </dgm:pt>
    <dgm:pt modelId="{76B3F540-0199-4A08-AB2D-BC57433FFF31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Уполномоченный по правам ребенка региона </a:t>
          </a:r>
        </a:p>
      </dgm:t>
    </dgm:pt>
    <dgm:pt modelId="{93618E71-F845-4C24-8749-41CB89DC7C80}" type="parTrans" cxnId="{DACCDA3B-2E67-427A-8EEC-7E285BD06BFF}">
      <dgm:prSet/>
      <dgm:spPr/>
      <dgm:t>
        <a:bodyPr/>
        <a:lstStyle/>
        <a:p>
          <a:endParaRPr lang="ru-RU"/>
        </a:p>
      </dgm:t>
    </dgm:pt>
    <dgm:pt modelId="{277878A7-CEE0-4C7A-848B-A178C98D37C1}" type="sibTrans" cxnId="{DACCDA3B-2E67-427A-8EEC-7E285BD06BFF}">
      <dgm:prSet/>
      <dgm:spPr/>
      <dgm:t>
        <a:bodyPr/>
        <a:lstStyle/>
        <a:p>
          <a:endParaRPr lang="ru-RU"/>
        </a:p>
      </dgm:t>
    </dgm:pt>
    <dgm:pt modelId="{2640ED16-7E82-471E-BB7E-5BB673F7BD29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инистерство здравоохранения </a:t>
          </a:r>
        </a:p>
      </dgm:t>
    </dgm:pt>
    <dgm:pt modelId="{2E323985-2E45-4B4D-82ED-06920E22782B}" type="parTrans" cxnId="{4E1BCF67-C8DA-4768-A90E-767C5622C24B}">
      <dgm:prSet/>
      <dgm:spPr/>
      <dgm:t>
        <a:bodyPr/>
        <a:lstStyle/>
        <a:p>
          <a:endParaRPr lang="ru-RU"/>
        </a:p>
      </dgm:t>
    </dgm:pt>
    <dgm:pt modelId="{37B1E80D-6F9A-418D-9B5D-EA7AA10A25A2}" type="sibTrans" cxnId="{4E1BCF67-C8DA-4768-A90E-767C5622C24B}">
      <dgm:prSet/>
      <dgm:spPr/>
      <dgm:t>
        <a:bodyPr/>
        <a:lstStyle/>
        <a:p>
          <a:endParaRPr lang="ru-RU"/>
        </a:p>
      </dgm:t>
    </dgm:pt>
    <dgm:pt modelId="{2B26CEA9-3FE9-473B-BBBA-4E973FC77A9A}" type="pres">
      <dgm:prSet presAssocID="{F549A2DA-E957-42B5-8486-61231190E9C7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D8F0055-463D-40E4-B740-88A22B57BD68}" type="pres">
      <dgm:prSet presAssocID="{BC7DB5EF-4E01-425B-8A9E-371B8057CF1F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3859B6-F26E-4426-8603-53C7C4ECAE95}" type="pres">
      <dgm:prSet presAssocID="{ACCE9C74-8510-400F-B338-D67A59C48320}" presName="sibTrans" presStyleCnt="0"/>
      <dgm:spPr/>
    </dgm:pt>
    <dgm:pt modelId="{C461E2EB-1091-4432-9124-FFE2CC84EFFC}" type="pres">
      <dgm:prSet presAssocID="{2F59E613-1F49-49BF-BD79-AFABA147BE1D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C43BD3-0A30-43D6-BC5B-22D799D0EB80}" type="pres">
      <dgm:prSet presAssocID="{C7E27E0A-A044-41AC-9373-CAE5A9F43CE0}" presName="sibTrans" presStyleCnt="0"/>
      <dgm:spPr/>
    </dgm:pt>
    <dgm:pt modelId="{382114AE-60D0-4A4F-B6F6-9B85973A8774}" type="pres">
      <dgm:prSet presAssocID="{DBB42EB7-D7D3-4299-8E12-4CB857C77439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81DA961-BE7D-4FFB-BF19-76B14E375674}" type="pres">
      <dgm:prSet presAssocID="{A97AA6FC-1C9A-4BB3-90FB-8DEDB6610D00}" presName="sibTrans" presStyleCnt="0"/>
      <dgm:spPr/>
    </dgm:pt>
    <dgm:pt modelId="{800B0D4C-01CE-496E-9B29-5D6A394B0567}" type="pres">
      <dgm:prSet presAssocID="{3A43CD0A-72C3-46A1-A4D9-CCBD02E2758F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6151DC7-C757-41CC-8F29-B62A03346D73}" type="pres">
      <dgm:prSet presAssocID="{A406DEC9-F4FC-46FA-990D-B17CE03A41CB}" presName="sibTrans" presStyleCnt="0"/>
      <dgm:spPr/>
    </dgm:pt>
    <dgm:pt modelId="{066996AF-BEC6-4EFD-B29F-8B9B79FE82E7}" type="pres">
      <dgm:prSet presAssocID="{0C314C64-4FC2-492D-8BEE-5E809A3899E7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718A90-DD3D-48CF-93A8-4EF36A95C6AF}" type="pres">
      <dgm:prSet presAssocID="{63DE6E90-6A46-441C-B7B1-68AC8701770D}" presName="sibTrans" presStyleCnt="0"/>
      <dgm:spPr/>
    </dgm:pt>
    <dgm:pt modelId="{5B1F2A19-3198-46C5-8152-E080C2D3E6EE}" type="pres">
      <dgm:prSet presAssocID="{DD30AA66-6DA5-4050-B8A9-1D2D4AC699C1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62DEE1F-AC41-4E0D-AD1F-CF0D3D1D2C57}" type="pres">
      <dgm:prSet presAssocID="{2746E0B4-13AB-46BF-B319-D6340F685DBF}" presName="sibTrans" presStyleCnt="0"/>
      <dgm:spPr/>
    </dgm:pt>
    <dgm:pt modelId="{A4E3B9CF-90B1-4614-A586-5F4285669115}" type="pres">
      <dgm:prSet presAssocID="{2640ED16-7E82-471E-BB7E-5BB673F7BD29}" presName="node" presStyleLbl="node1" presStyleIdx="6" presStyleCnt="9" custLinFactNeighborX="-1067" custLinFactNeighborY="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A8DDCB7-ABAC-4657-B365-7DB8584804D7}" type="pres">
      <dgm:prSet presAssocID="{37B1E80D-6F9A-418D-9B5D-EA7AA10A25A2}" presName="sibTrans" presStyleCnt="0"/>
      <dgm:spPr/>
    </dgm:pt>
    <dgm:pt modelId="{B67FF79F-D78B-433F-BB5F-693FAB067492}" type="pres">
      <dgm:prSet presAssocID="{76B3F540-0199-4A08-AB2D-BC57433FFF31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4F0F00-A848-4CA0-823E-004CE54E9A4D}" type="pres">
      <dgm:prSet presAssocID="{277878A7-CEE0-4C7A-848B-A178C98D37C1}" presName="sibTrans" presStyleCnt="0"/>
      <dgm:spPr/>
    </dgm:pt>
    <dgm:pt modelId="{5399572E-D72C-4373-90F7-2A25A1A0739E}" type="pres">
      <dgm:prSet presAssocID="{1E858333-7233-4016-92F3-25D0E77E35CD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8DDE755-DC7B-45F0-B528-8FF6F16F494E}" srcId="{F549A2DA-E957-42B5-8486-61231190E9C7}" destId="{2F59E613-1F49-49BF-BD79-AFABA147BE1D}" srcOrd="1" destOrd="0" parTransId="{111B09F6-0FD7-4031-B1FA-72CBED721D2B}" sibTransId="{C7E27E0A-A044-41AC-9373-CAE5A9F43CE0}"/>
    <dgm:cxn modelId="{A6F3CFA3-2DB0-402F-8EFF-B517BE07475A}" type="presOf" srcId="{BC7DB5EF-4E01-425B-8A9E-371B8057CF1F}" destId="{7D8F0055-463D-40E4-B740-88A22B57BD68}" srcOrd="0" destOrd="0" presId="urn:microsoft.com/office/officeart/2005/8/layout/default"/>
    <dgm:cxn modelId="{9C8418D9-234A-4BEE-8D05-965B1B5AEEC4}" type="presOf" srcId="{1E858333-7233-4016-92F3-25D0E77E35CD}" destId="{5399572E-D72C-4373-90F7-2A25A1A0739E}" srcOrd="0" destOrd="0" presId="urn:microsoft.com/office/officeart/2005/8/layout/default"/>
    <dgm:cxn modelId="{A158D2F9-4D27-42F5-BDE4-51524F7C2743}" type="presOf" srcId="{2640ED16-7E82-471E-BB7E-5BB673F7BD29}" destId="{A4E3B9CF-90B1-4614-A586-5F4285669115}" srcOrd="0" destOrd="0" presId="urn:microsoft.com/office/officeart/2005/8/layout/default"/>
    <dgm:cxn modelId="{4CDCAC16-2BFE-4FFB-87AB-8C1152373218}" type="presOf" srcId="{3A43CD0A-72C3-46A1-A4D9-CCBD02E2758F}" destId="{800B0D4C-01CE-496E-9B29-5D6A394B0567}" srcOrd="0" destOrd="0" presId="urn:microsoft.com/office/officeart/2005/8/layout/default"/>
    <dgm:cxn modelId="{32ECB988-E629-42A8-A36E-04D3ECE514D9}" type="presOf" srcId="{DBB42EB7-D7D3-4299-8E12-4CB857C77439}" destId="{382114AE-60D0-4A4F-B6F6-9B85973A8774}" srcOrd="0" destOrd="0" presId="urn:microsoft.com/office/officeart/2005/8/layout/default"/>
    <dgm:cxn modelId="{C344FAFE-8B47-4760-9A88-60C27F4CF98E}" srcId="{F549A2DA-E957-42B5-8486-61231190E9C7}" destId="{DBB42EB7-D7D3-4299-8E12-4CB857C77439}" srcOrd="2" destOrd="0" parTransId="{4D012B13-16E1-408F-8F28-FE8F38ECCC44}" sibTransId="{A97AA6FC-1C9A-4BB3-90FB-8DEDB6610D00}"/>
    <dgm:cxn modelId="{715EA278-F0C5-4552-B3F4-9408864C9650}" type="presOf" srcId="{DD30AA66-6DA5-4050-B8A9-1D2D4AC699C1}" destId="{5B1F2A19-3198-46C5-8152-E080C2D3E6EE}" srcOrd="0" destOrd="0" presId="urn:microsoft.com/office/officeart/2005/8/layout/default"/>
    <dgm:cxn modelId="{1DA69661-BC05-45B4-857D-E1B9D26C4412}" srcId="{F549A2DA-E957-42B5-8486-61231190E9C7}" destId="{3A43CD0A-72C3-46A1-A4D9-CCBD02E2758F}" srcOrd="3" destOrd="0" parTransId="{F9512E7D-ACBF-4F3F-8902-647E68AD46A3}" sibTransId="{A406DEC9-F4FC-46FA-990D-B17CE03A41CB}"/>
    <dgm:cxn modelId="{4E1BCF67-C8DA-4768-A90E-767C5622C24B}" srcId="{F549A2DA-E957-42B5-8486-61231190E9C7}" destId="{2640ED16-7E82-471E-BB7E-5BB673F7BD29}" srcOrd="6" destOrd="0" parTransId="{2E323985-2E45-4B4D-82ED-06920E22782B}" sibTransId="{37B1E80D-6F9A-418D-9B5D-EA7AA10A25A2}"/>
    <dgm:cxn modelId="{DD0E029C-E29B-467C-A29B-A7A977F0EC82}" type="presOf" srcId="{76B3F540-0199-4A08-AB2D-BC57433FFF31}" destId="{B67FF79F-D78B-433F-BB5F-693FAB067492}" srcOrd="0" destOrd="0" presId="urn:microsoft.com/office/officeart/2005/8/layout/default"/>
    <dgm:cxn modelId="{DACCDA3B-2E67-427A-8EEC-7E285BD06BFF}" srcId="{F549A2DA-E957-42B5-8486-61231190E9C7}" destId="{76B3F540-0199-4A08-AB2D-BC57433FFF31}" srcOrd="7" destOrd="0" parTransId="{93618E71-F845-4C24-8749-41CB89DC7C80}" sibTransId="{277878A7-CEE0-4C7A-848B-A178C98D37C1}"/>
    <dgm:cxn modelId="{8EA5F99C-BDA1-4406-B56C-F296EEA811D7}" srcId="{F549A2DA-E957-42B5-8486-61231190E9C7}" destId="{BC7DB5EF-4E01-425B-8A9E-371B8057CF1F}" srcOrd="0" destOrd="0" parTransId="{05D0DE6D-869E-4A08-9718-9F19F1C0EC15}" sibTransId="{ACCE9C74-8510-400F-B338-D67A59C48320}"/>
    <dgm:cxn modelId="{61D60097-3FB3-44D8-B1D0-A683D9ACC57E}" type="presOf" srcId="{F549A2DA-E957-42B5-8486-61231190E9C7}" destId="{2B26CEA9-3FE9-473B-BBBA-4E973FC77A9A}" srcOrd="0" destOrd="0" presId="urn:microsoft.com/office/officeart/2005/8/layout/default"/>
    <dgm:cxn modelId="{1E526C4A-8194-410A-902A-3733A4D6DDA0}" srcId="{F549A2DA-E957-42B5-8486-61231190E9C7}" destId="{0C314C64-4FC2-492D-8BEE-5E809A3899E7}" srcOrd="4" destOrd="0" parTransId="{029DD581-5C33-46BD-A1AB-64F62EDA0219}" sibTransId="{63DE6E90-6A46-441C-B7B1-68AC8701770D}"/>
    <dgm:cxn modelId="{C996E35E-DDB5-4AA0-9D3B-1A760A064428}" srcId="{F549A2DA-E957-42B5-8486-61231190E9C7}" destId="{DD30AA66-6DA5-4050-B8A9-1D2D4AC699C1}" srcOrd="5" destOrd="0" parTransId="{58ADBA43-929F-4C21-A51B-4152BB83349A}" sibTransId="{2746E0B4-13AB-46BF-B319-D6340F685DBF}"/>
    <dgm:cxn modelId="{0C830445-354F-4AEF-B000-F8FC630C168F}" type="presOf" srcId="{0C314C64-4FC2-492D-8BEE-5E809A3899E7}" destId="{066996AF-BEC6-4EFD-B29F-8B9B79FE82E7}" srcOrd="0" destOrd="0" presId="urn:microsoft.com/office/officeart/2005/8/layout/default"/>
    <dgm:cxn modelId="{CE402668-468D-4BF1-BB53-53E28CAF443D}" srcId="{F549A2DA-E957-42B5-8486-61231190E9C7}" destId="{1E858333-7233-4016-92F3-25D0E77E35CD}" srcOrd="8" destOrd="0" parTransId="{001E4F2B-0E60-44DE-B6B1-D88FC854DBF1}" sibTransId="{3AA800AA-571B-48F5-B7BD-666867DBDAFD}"/>
    <dgm:cxn modelId="{CEDA2340-1508-4C34-BFF1-1F6C8D2A626D}" type="presOf" srcId="{2F59E613-1F49-49BF-BD79-AFABA147BE1D}" destId="{C461E2EB-1091-4432-9124-FFE2CC84EFFC}" srcOrd="0" destOrd="0" presId="urn:microsoft.com/office/officeart/2005/8/layout/default"/>
    <dgm:cxn modelId="{544114EF-FE79-4345-8D32-905562607D1F}" type="presParOf" srcId="{2B26CEA9-3FE9-473B-BBBA-4E973FC77A9A}" destId="{7D8F0055-463D-40E4-B740-88A22B57BD68}" srcOrd="0" destOrd="0" presId="urn:microsoft.com/office/officeart/2005/8/layout/default"/>
    <dgm:cxn modelId="{CF3616AD-B267-4526-9ED1-960C7BDF3494}" type="presParOf" srcId="{2B26CEA9-3FE9-473B-BBBA-4E973FC77A9A}" destId="{F03859B6-F26E-4426-8603-53C7C4ECAE95}" srcOrd="1" destOrd="0" presId="urn:microsoft.com/office/officeart/2005/8/layout/default"/>
    <dgm:cxn modelId="{1C1A94B4-5750-48ED-AD41-65EC2A086C73}" type="presParOf" srcId="{2B26CEA9-3FE9-473B-BBBA-4E973FC77A9A}" destId="{C461E2EB-1091-4432-9124-FFE2CC84EFFC}" srcOrd="2" destOrd="0" presId="urn:microsoft.com/office/officeart/2005/8/layout/default"/>
    <dgm:cxn modelId="{2D739F29-CAD0-416A-82FD-9F9A6DC23726}" type="presParOf" srcId="{2B26CEA9-3FE9-473B-BBBA-4E973FC77A9A}" destId="{DBC43BD3-0A30-43D6-BC5B-22D799D0EB80}" srcOrd="3" destOrd="0" presId="urn:microsoft.com/office/officeart/2005/8/layout/default"/>
    <dgm:cxn modelId="{CD71C4FD-83F9-41E6-86C7-EBBF5A11A32A}" type="presParOf" srcId="{2B26CEA9-3FE9-473B-BBBA-4E973FC77A9A}" destId="{382114AE-60D0-4A4F-B6F6-9B85973A8774}" srcOrd="4" destOrd="0" presId="urn:microsoft.com/office/officeart/2005/8/layout/default"/>
    <dgm:cxn modelId="{C5D84EBB-A219-4B58-A8B6-ABBAF100DFDE}" type="presParOf" srcId="{2B26CEA9-3FE9-473B-BBBA-4E973FC77A9A}" destId="{F81DA961-BE7D-4FFB-BF19-76B14E375674}" srcOrd="5" destOrd="0" presId="urn:microsoft.com/office/officeart/2005/8/layout/default"/>
    <dgm:cxn modelId="{39754391-C1A9-41B2-B289-7361500412FF}" type="presParOf" srcId="{2B26CEA9-3FE9-473B-BBBA-4E973FC77A9A}" destId="{800B0D4C-01CE-496E-9B29-5D6A394B0567}" srcOrd="6" destOrd="0" presId="urn:microsoft.com/office/officeart/2005/8/layout/default"/>
    <dgm:cxn modelId="{453661DB-031C-4A9A-8611-AA238C774BCA}" type="presParOf" srcId="{2B26CEA9-3FE9-473B-BBBA-4E973FC77A9A}" destId="{46151DC7-C757-41CC-8F29-B62A03346D73}" srcOrd="7" destOrd="0" presId="urn:microsoft.com/office/officeart/2005/8/layout/default"/>
    <dgm:cxn modelId="{812EDCBF-1088-4C0C-8AC6-181CE8C1D202}" type="presParOf" srcId="{2B26CEA9-3FE9-473B-BBBA-4E973FC77A9A}" destId="{066996AF-BEC6-4EFD-B29F-8B9B79FE82E7}" srcOrd="8" destOrd="0" presId="urn:microsoft.com/office/officeart/2005/8/layout/default"/>
    <dgm:cxn modelId="{1892DDCA-68BA-4749-87E4-3CAB573FEA66}" type="presParOf" srcId="{2B26CEA9-3FE9-473B-BBBA-4E973FC77A9A}" destId="{84718A90-DD3D-48CF-93A8-4EF36A95C6AF}" srcOrd="9" destOrd="0" presId="urn:microsoft.com/office/officeart/2005/8/layout/default"/>
    <dgm:cxn modelId="{D8B31DD8-A9DE-49AF-BADB-2D25D0D09606}" type="presParOf" srcId="{2B26CEA9-3FE9-473B-BBBA-4E973FC77A9A}" destId="{5B1F2A19-3198-46C5-8152-E080C2D3E6EE}" srcOrd="10" destOrd="0" presId="urn:microsoft.com/office/officeart/2005/8/layout/default"/>
    <dgm:cxn modelId="{465BC879-CC7A-4446-95E8-3A3114DF6ACC}" type="presParOf" srcId="{2B26CEA9-3FE9-473B-BBBA-4E973FC77A9A}" destId="{462DEE1F-AC41-4E0D-AD1F-CF0D3D1D2C57}" srcOrd="11" destOrd="0" presId="urn:microsoft.com/office/officeart/2005/8/layout/default"/>
    <dgm:cxn modelId="{E0166B2F-97DC-436D-9345-408FE11EBD48}" type="presParOf" srcId="{2B26CEA9-3FE9-473B-BBBA-4E973FC77A9A}" destId="{A4E3B9CF-90B1-4614-A586-5F4285669115}" srcOrd="12" destOrd="0" presId="urn:microsoft.com/office/officeart/2005/8/layout/default"/>
    <dgm:cxn modelId="{111DA3AB-FFEE-4F6B-8427-F6F15B6B94F1}" type="presParOf" srcId="{2B26CEA9-3FE9-473B-BBBA-4E973FC77A9A}" destId="{9A8DDCB7-ABAC-4657-B365-7DB8584804D7}" srcOrd="13" destOrd="0" presId="urn:microsoft.com/office/officeart/2005/8/layout/default"/>
    <dgm:cxn modelId="{D6316A36-70D6-4F5E-9E02-128323840CCC}" type="presParOf" srcId="{2B26CEA9-3FE9-473B-BBBA-4E973FC77A9A}" destId="{B67FF79F-D78B-433F-BB5F-693FAB067492}" srcOrd="14" destOrd="0" presId="urn:microsoft.com/office/officeart/2005/8/layout/default"/>
    <dgm:cxn modelId="{157E502C-5B62-47E3-9B7D-6E1796459035}" type="presParOf" srcId="{2B26CEA9-3FE9-473B-BBBA-4E973FC77A9A}" destId="{B34F0F00-A848-4CA0-823E-004CE54E9A4D}" srcOrd="15" destOrd="0" presId="urn:microsoft.com/office/officeart/2005/8/layout/default"/>
    <dgm:cxn modelId="{3827E10D-5AFD-414B-A32B-2D4C3AB753F7}" type="presParOf" srcId="{2B26CEA9-3FE9-473B-BBBA-4E973FC77A9A}" destId="{5399572E-D72C-4373-90F7-2A25A1A0739E}" srcOrd="1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3BDFB1C-1D3B-4763-8BDF-9A0C6414CE46}" type="doc">
      <dgm:prSet loTypeId="urn:microsoft.com/office/officeart/2005/8/layout/lProcess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ru-RU"/>
        </a:p>
      </dgm:t>
    </dgm:pt>
    <dgm:pt modelId="{2F59BDF0-F8A1-4C03-811E-34D33DA058BB}">
      <dgm:prSet phldrT="[Текст]"/>
      <dgm:spPr/>
      <dgm:t>
        <a:bodyPr/>
        <a:lstStyle/>
        <a:p>
          <a:r>
            <a:rPr lang="ru-RU" dirty="0"/>
            <a:t>Федеральный уровень </a:t>
          </a:r>
        </a:p>
      </dgm:t>
    </dgm:pt>
    <dgm:pt modelId="{1ABE6DA7-7DF1-4359-AE94-45A1CAC01F86}" type="parTrans" cxnId="{93D782AB-A7D5-4C0F-A5D3-C4964F11034A}">
      <dgm:prSet/>
      <dgm:spPr/>
      <dgm:t>
        <a:bodyPr/>
        <a:lstStyle/>
        <a:p>
          <a:endParaRPr lang="ru-RU"/>
        </a:p>
      </dgm:t>
    </dgm:pt>
    <dgm:pt modelId="{8F9DA785-26D0-4AAE-9BB9-8A7879C14407}" type="sibTrans" cxnId="{93D782AB-A7D5-4C0F-A5D3-C4964F11034A}">
      <dgm:prSet/>
      <dgm:spPr/>
      <dgm:t>
        <a:bodyPr/>
        <a:lstStyle/>
        <a:p>
          <a:endParaRPr lang="ru-RU"/>
        </a:p>
      </dgm:t>
    </dgm:pt>
    <dgm:pt modelId="{097B274B-9946-40E3-9770-B27F28E00D41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Более 40 информационных систем</a:t>
          </a:r>
        </a:p>
      </dgm:t>
    </dgm:pt>
    <dgm:pt modelId="{5EBC44C6-4DF5-4901-BBE1-0E25B3DDCFCE}" type="parTrans" cxnId="{5D6CCABC-4CEF-498A-A9C7-E8C9DE1A20A5}">
      <dgm:prSet/>
      <dgm:spPr/>
      <dgm:t>
        <a:bodyPr/>
        <a:lstStyle/>
        <a:p>
          <a:endParaRPr lang="ru-RU"/>
        </a:p>
      </dgm:t>
    </dgm:pt>
    <dgm:pt modelId="{BBACE343-E955-4A66-991A-81B858D71AD9}" type="sibTrans" cxnId="{5D6CCABC-4CEF-498A-A9C7-E8C9DE1A20A5}">
      <dgm:prSet/>
      <dgm:spPr/>
      <dgm:t>
        <a:bodyPr/>
        <a:lstStyle/>
        <a:p>
          <a:endParaRPr lang="ru-RU"/>
        </a:p>
      </dgm:t>
    </dgm:pt>
    <dgm:pt modelId="{3B259DC4-B5DB-46EB-8866-5E30C96611AA}">
      <dgm:prSet phldrT="[Текст]" custT="1"/>
      <dgm:spPr/>
      <dgm:t>
        <a:bodyPr/>
        <a:lstStyle/>
        <a:p>
          <a:r>
            <a:rPr lang="ru-RU" sz="3200" b="1" dirty="0">
              <a:solidFill>
                <a:schemeClr val="tx1"/>
              </a:solidFill>
            </a:rPr>
            <a:t>Запросы </a:t>
          </a:r>
        </a:p>
      </dgm:t>
    </dgm:pt>
    <dgm:pt modelId="{CD542C30-9749-4934-8A63-B89991FFAA96}" type="parTrans" cxnId="{FD192259-49B1-406D-890A-D177808EBA1B}">
      <dgm:prSet/>
      <dgm:spPr/>
      <dgm:t>
        <a:bodyPr/>
        <a:lstStyle/>
        <a:p>
          <a:endParaRPr lang="ru-RU"/>
        </a:p>
      </dgm:t>
    </dgm:pt>
    <dgm:pt modelId="{95157ABF-801B-4653-A2B9-EA95002467A0}" type="sibTrans" cxnId="{FD192259-49B1-406D-890A-D177808EBA1B}">
      <dgm:prSet/>
      <dgm:spPr/>
      <dgm:t>
        <a:bodyPr/>
        <a:lstStyle/>
        <a:p>
          <a:endParaRPr lang="ru-RU"/>
        </a:p>
      </dgm:t>
    </dgm:pt>
    <dgm:pt modelId="{A044767E-D98D-4A11-AF28-85FF3B75317C}">
      <dgm:prSet phldrT="[Текст]"/>
      <dgm:spPr/>
      <dgm:t>
        <a:bodyPr/>
        <a:lstStyle/>
        <a:p>
          <a:r>
            <a:rPr lang="ru-RU" dirty="0"/>
            <a:t>Региональный уровень </a:t>
          </a:r>
        </a:p>
      </dgm:t>
    </dgm:pt>
    <dgm:pt modelId="{918BE1E2-7C21-4A88-99E6-71B9E2086807}" type="parTrans" cxnId="{0B5DB2A2-78A7-47B5-850E-51A0FA0ED6D5}">
      <dgm:prSet/>
      <dgm:spPr/>
      <dgm:t>
        <a:bodyPr/>
        <a:lstStyle/>
        <a:p>
          <a:endParaRPr lang="ru-RU"/>
        </a:p>
      </dgm:t>
    </dgm:pt>
    <dgm:pt modelId="{61C4B9C6-2465-4B99-8B0D-E90DF9A0A89E}" type="sibTrans" cxnId="{0B5DB2A2-78A7-47B5-850E-51A0FA0ED6D5}">
      <dgm:prSet/>
      <dgm:spPr/>
      <dgm:t>
        <a:bodyPr/>
        <a:lstStyle/>
        <a:p>
          <a:endParaRPr lang="ru-RU"/>
        </a:p>
      </dgm:t>
    </dgm:pt>
    <dgm:pt modelId="{5B039FA7-78C1-442B-9260-6F232FC04636}">
      <dgm:prSet phldrT="[Текст]" custT="1"/>
      <dgm:spPr/>
      <dgm:t>
        <a:bodyPr/>
        <a:lstStyle/>
        <a:p>
          <a:endParaRPr lang="ru-RU" sz="1600" b="1" dirty="0">
            <a:solidFill>
              <a:schemeClr val="bg1"/>
            </a:solidFill>
          </a:endParaRPr>
        </a:p>
        <a:p>
          <a:endParaRPr lang="ru-RU" sz="1600" b="1" dirty="0">
            <a:solidFill>
              <a:schemeClr val="bg1"/>
            </a:solidFill>
          </a:endParaRPr>
        </a:p>
        <a:p>
          <a:r>
            <a:rPr lang="ru-RU" sz="2400" b="1" dirty="0">
              <a:solidFill>
                <a:schemeClr val="tx1"/>
              </a:solidFill>
            </a:rPr>
            <a:t>Запросы</a:t>
          </a:r>
        </a:p>
        <a:p>
          <a:endParaRPr lang="ru-RU" sz="2400" b="1" dirty="0">
            <a:solidFill>
              <a:schemeClr val="bg1"/>
            </a:solidFill>
          </a:endParaRPr>
        </a:p>
        <a:p>
          <a:r>
            <a:rPr lang="ru-RU" sz="2400" b="1" dirty="0">
              <a:solidFill>
                <a:schemeClr val="tx1"/>
              </a:solidFill>
            </a:rPr>
            <a:t>Региональные ИС</a:t>
          </a:r>
        </a:p>
        <a:p>
          <a:endParaRPr lang="ru-RU" sz="1600" b="1" dirty="0">
            <a:solidFill>
              <a:schemeClr val="bg1"/>
            </a:solidFill>
          </a:endParaRPr>
        </a:p>
        <a:p>
          <a:r>
            <a:rPr lang="ru-RU" sz="1600" b="1" dirty="0">
              <a:solidFill>
                <a:schemeClr val="bg1"/>
              </a:solidFill>
            </a:rPr>
            <a:t> </a:t>
          </a:r>
        </a:p>
      </dgm:t>
    </dgm:pt>
    <dgm:pt modelId="{5F054153-A64A-4350-97F3-4916EA6AB0DE}" type="parTrans" cxnId="{40A14438-352D-4875-BACF-BD72930807D4}">
      <dgm:prSet/>
      <dgm:spPr/>
      <dgm:t>
        <a:bodyPr/>
        <a:lstStyle/>
        <a:p>
          <a:endParaRPr lang="ru-RU"/>
        </a:p>
      </dgm:t>
    </dgm:pt>
    <dgm:pt modelId="{D4273F00-5C75-4BCC-8641-362AFFDE9023}" type="sibTrans" cxnId="{40A14438-352D-4875-BACF-BD72930807D4}">
      <dgm:prSet/>
      <dgm:spPr/>
      <dgm:t>
        <a:bodyPr/>
        <a:lstStyle/>
        <a:p>
          <a:endParaRPr lang="ru-RU"/>
        </a:p>
      </dgm:t>
    </dgm:pt>
    <dgm:pt modelId="{89C3F3F1-F04D-4CA0-AA23-73B65B058F97}">
      <dgm:prSet phldrT="[Текст]"/>
      <dgm:spPr/>
      <dgm:t>
        <a:bodyPr/>
        <a:lstStyle/>
        <a:p>
          <a:r>
            <a:rPr lang="ru-RU" dirty="0"/>
            <a:t>Локальный  уровень </a:t>
          </a:r>
        </a:p>
      </dgm:t>
    </dgm:pt>
    <dgm:pt modelId="{93C2F367-BF94-4B49-84C3-90723A2559A4}" type="parTrans" cxnId="{81A01430-4BBA-4F48-A0D4-A69B0FC9728E}">
      <dgm:prSet/>
      <dgm:spPr/>
      <dgm:t>
        <a:bodyPr/>
        <a:lstStyle/>
        <a:p>
          <a:endParaRPr lang="ru-RU"/>
        </a:p>
      </dgm:t>
    </dgm:pt>
    <dgm:pt modelId="{7FB205AE-49F7-4CA7-8F1B-33E5CCB86FE2}" type="sibTrans" cxnId="{81A01430-4BBA-4F48-A0D4-A69B0FC9728E}">
      <dgm:prSet/>
      <dgm:spPr/>
      <dgm:t>
        <a:bodyPr/>
        <a:lstStyle/>
        <a:p>
          <a:endParaRPr lang="ru-RU"/>
        </a:p>
      </dgm:t>
    </dgm:pt>
    <dgm:pt modelId="{ED4B7D1F-D85D-44FF-A6B8-3DC78323EE09}">
      <dgm:prSet phldrT="[Текст]" custT="1"/>
      <dgm:spPr/>
      <dgm:t>
        <a:bodyPr/>
        <a:lstStyle/>
        <a:p>
          <a:endParaRPr lang="ru-RU" sz="1400" b="1" dirty="0">
            <a:solidFill>
              <a:schemeClr val="bg1"/>
            </a:solidFill>
          </a:endParaRPr>
        </a:p>
        <a:p>
          <a:r>
            <a:rPr lang="ru-RU" sz="2000" b="1" dirty="0">
              <a:solidFill>
                <a:schemeClr val="tx1"/>
              </a:solidFill>
            </a:rPr>
            <a:t>АУП</a:t>
          </a:r>
        </a:p>
        <a:p>
          <a:r>
            <a:rPr lang="ru-RU" sz="1600" b="1" dirty="0">
              <a:solidFill>
                <a:schemeClr val="tx1"/>
              </a:solidFill>
            </a:rPr>
            <a:t>Не регламентированы требования к отчетности </a:t>
          </a:r>
        </a:p>
        <a:p>
          <a:endParaRPr lang="ru-RU" sz="1400" b="1" dirty="0">
            <a:solidFill>
              <a:schemeClr val="bg1"/>
            </a:solidFill>
          </a:endParaRPr>
        </a:p>
      </dgm:t>
    </dgm:pt>
    <dgm:pt modelId="{44F92921-C270-4DD2-8DDD-F9468C1D6264}" type="parTrans" cxnId="{86FFCC86-FACD-4233-A949-A87B013BA634}">
      <dgm:prSet/>
      <dgm:spPr/>
      <dgm:t>
        <a:bodyPr/>
        <a:lstStyle/>
        <a:p>
          <a:endParaRPr lang="ru-RU"/>
        </a:p>
      </dgm:t>
    </dgm:pt>
    <dgm:pt modelId="{82D7B527-444F-4C5B-AF5A-858C62C09D98}" type="sibTrans" cxnId="{86FFCC86-FACD-4233-A949-A87B013BA634}">
      <dgm:prSet/>
      <dgm:spPr/>
      <dgm:t>
        <a:bodyPr/>
        <a:lstStyle/>
        <a:p>
          <a:endParaRPr lang="ru-RU"/>
        </a:p>
      </dgm:t>
    </dgm:pt>
    <dgm:pt modelId="{F8CC57AA-D8A7-4D0F-B2A5-8E5FD41A66C8}">
      <dgm:prSet phldrT="[Текст]" custT="1"/>
      <dgm:spPr/>
      <dgm:t>
        <a:bodyPr/>
        <a:lstStyle/>
        <a:p>
          <a:r>
            <a:rPr lang="ru-RU" sz="1800" b="1" dirty="0">
              <a:solidFill>
                <a:schemeClr val="tx1"/>
              </a:solidFill>
            </a:rPr>
            <a:t>ПЕДАГОГИ </a:t>
          </a:r>
        </a:p>
        <a:p>
          <a:r>
            <a:rPr lang="ru-RU" sz="1800" b="1" dirty="0">
              <a:solidFill>
                <a:schemeClr val="tx1"/>
              </a:solidFill>
            </a:rPr>
            <a:t>Не регламентированы требования к отчетности </a:t>
          </a:r>
        </a:p>
      </dgm:t>
    </dgm:pt>
    <dgm:pt modelId="{ED277891-241F-45E5-A924-630F89F56DE9}" type="parTrans" cxnId="{329C3714-D698-4AD0-8A2F-51574A7A7386}">
      <dgm:prSet/>
      <dgm:spPr/>
      <dgm:t>
        <a:bodyPr/>
        <a:lstStyle/>
        <a:p>
          <a:endParaRPr lang="ru-RU"/>
        </a:p>
      </dgm:t>
    </dgm:pt>
    <dgm:pt modelId="{CCB24728-3614-48BD-B824-F9C96BF19A6A}" type="sibTrans" cxnId="{329C3714-D698-4AD0-8A2F-51574A7A7386}">
      <dgm:prSet/>
      <dgm:spPr/>
      <dgm:t>
        <a:bodyPr/>
        <a:lstStyle/>
        <a:p>
          <a:endParaRPr lang="ru-RU"/>
        </a:p>
      </dgm:t>
    </dgm:pt>
    <dgm:pt modelId="{4E468E96-98A8-4159-9532-307B29CD124E}" type="pres">
      <dgm:prSet presAssocID="{F3BDFB1C-1D3B-4763-8BDF-9A0C6414CE46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0B25778-383E-4DEF-A35F-4F69462E427A}" type="pres">
      <dgm:prSet presAssocID="{2F59BDF0-F8A1-4C03-811E-34D33DA058BB}" presName="compNode" presStyleCnt="0"/>
      <dgm:spPr/>
    </dgm:pt>
    <dgm:pt modelId="{CDB3F5B3-FB12-4ADC-9552-B9F6404F78D4}" type="pres">
      <dgm:prSet presAssocID="{2F59BDF0-F8A1-4C03-811E-34D33DA058BB}" presName="aNode" presStyleLbl="bgShp" presStyleIdx="0" presStyleCnt="3"/>
      <dgm:spPr/>
      <dgm:t>
        <a:bodyPr/>
        <a:lstStyle/>
        <a:p>
          <a:endParaRPr lang="ru-RU"/>
        </a:p>
      </dgm:t>
    </dgm:pt>
    <dgm:pt modelId="{3E564287-F247-4669-88A9-EADF22BDBD81}" type="pres">
      <dgm:prSet presAssocID="{2F59BDF0-F8A1-4C03-811E-34D33DA058BB}" presName="textNode" presStyleLbl="bgShp" presStyleIdx="0" presStyleCnt="3"/>
      <dgm:spPr/>
      <dgm:t>
        <a:bodyPr/>
        <a:lstStyle/>
        <a:p>
          <a:endParaRPr lang="ru-RU"/>
        </a:p>
      </dgm:t>
    </dgm:pt>
    <dgm:pt modelId="{1A36D4F4-99F1-4801-9406-5FD8CAC612E5}" type="pres">
      <dgm:prSet presAssocID="{2F59BDF0-F8A1-4C03-811E-34D33DA058BB}" presName="compChildNode" presStyleCnt="0"/>
      <dgm:spPr/>
    </dgm:pt>
    <dgm:pt modelId="{E23DBA2C-D04B-49C0-BCC5-5EC499891BC5}" type="pres">
      <dgm:prSet presAssocID="{2F59BDF0-F8A1-4C03-811E-34D33DA058BB}" presName="theInnerList" presStyleCnt="0"/>
      <dgm:spPr/>
    </dgm:pt>
    <dgm:pt modelId="{50ABF2AD-B33F-449A-A52C-6E778A7C7A68}" type="pres">
      <dgm:prSet presAssocID="{097B274B-9946-40E3-9770-B27F28E00D41}" presName="child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BD8F302-D5C7-4BE7-95CE-CE7971D8C548}" type="pres">
      <dgm:prSet presAssocID="{097B274B-9946-40E3-9770-B27F28E00D41}" presName="aSpace2" presStyleCnt="0"/>
      <dgm:spPr/>
    </dgm:pt>
    <dgm:pt modelId="{32FD1BB4-6973-4F76-A8F9-4114413FC20B}" type="pres">
      <dgm:prSet presAssocID="{3B259DC4-B5DB-46EB-8866-5E30C96611AA}" presName="child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3F7B9BC-065B-44D8-A326-217EF5CE6FB2}" type="pres">
      <dgm:prSet presAssocID="{2F59BDF0-F8A1-4C03-811E-34D33DA058BB}" presName="aSpace" presStyleCnt="0"/>
      <dgm:spPr/>
    </dgm:pt>
    <dgm:pt modelId="{24B4337B-B7E9-4880-8E87-79C625C2C117}" type="pres">
      <dgm:prSet presAssocID="{A044767E-D98D-4A11-AF28-85FF3B75317C}" presName="compNode" presStyleCnt="0"/>
      <dgm:spPr/>
    </dgm:pt>
    <dgm:pt modelId="{D7D7E2EB-1607-4954-9C84-FC9844DD7A83}" type="pres">
      <dgm:prSet presAssocID="{A044767E-D98D-4A11-AF28-85FF3B75317C}" presName="aNode" presStyleLbl="bgShp" presStyleIdx="1" presStyleCnt="3"/>
      <dgm:spPr/>
      <dgm:t>
        <a:bodyPr/>
        <a:lstStyle/>
        <a:p>
          <a:endParaRPr lang="ru-RU"/>
        </a:p>
      </dgm:t>
    </dgm:pt>
    <dgm:pt modelId="{D1124199-F191-44F4-B89A-794BBA781E24}" type="pres">
      <dgm:prSet presAssocID="{A044767E-D98D-4A11-AF28-85FF3B75317C}" presName="textNode" presStyleLbl="bgShp" presStyleIdx="1" presStyleCnt="3"/>
      <dgm:spPr/>
      <dgm:t>
        <a:bodyPr/>
        <a:lstStyle/>
        <a:p>
          <a:endParaRPr lang="ru-RU"/>
        </a:p>
      </dgm:t>
    </dgm:pt>
    <dgm:pt modelId="{6A88615E-9710-4DBC-8771-2017E86A81E1}" type="pres">
      <dgm:prSet presAssocID="{A044767E-D98D-4A11-AF28-85FF3B75317C}" presName="compChildNode" presStyleCnt="0"/>
      <dgm:spPr/>
    </dgm:pt>
    <dgm:pt modelId="{C4A343A7-938F-4951-9966-836AA5D07D48}" type="pres">
      <dgm:prSet presAssocID="{A044767E-D98D-4A11-AF28-85FF3B75317C}" presName="theInnerList" presStyleCnt="0"/>
      <dgm:spPr/>
    </dgm:pt>
    <dgm:pt modelId="{A5794835-495D-4801-B5DD-51E9FC712920}" type="pres">
      <dgm:prSet presAssocID="{5B039FA7-78C1-442B-9260-6F232FC04636}" presName="child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30004C5-DE8C-4D8A-B45F-F80E22C2E242}" type="pres">
      <dgm:prSet presAssocID="{A044767E-D98D-4A11-AF28-85FF3B75317C}" presName="aSpace" presStyleCnt="0"/>
      <dgm:spPr/>
    </dgm:pt>
    <dgm:pt modelId="{FCAB5B5C-5D99-4E3D-95D0-008B385CF0A9}" type="pres">
      <dgm:prSet presAssocID="{89C3F3F1-F04D-4CA0-AA23-73B65B058F97}" presName="compNode" presStyleCnt="0"/>
      <dgm:spPr/>
    </dgm:pt>
    <dgm:pt modelId="{4EA7DD2E-6DF0-4829-810D-25011906D1C2}" type="pres">
      <dgm:prSet presAssocID="{89C3F3F1-F04D-4CA0-AA23-73B65B058F97}" presName="aNode" presStyleLbl="bgShp" presStyleIdx="2" presStyleCnt="3"/>
      <dgm:spPr/>
      <dgm:t>
        <a:bodyPr/>
        <a:lstStyle/>
        <a:p>
          <a:endParaRPr lang="ru-RU"/>
        </a:p>
      </dgm:t>
    </dgm:pt>
    <dgm:pt modelId="{B43C3F6C-983E-4CE7-B59C-0D9D9A887A56}" type="pres">
      <dgm:prSet presAssocID="{89C3F3F1-F04D-4CA0-AA23-73B65B058F97}" presName="textNode" presStyleLbl="bgShp" presStyleIdx="2" presStyleCnt="3"/>
      <dgm:spPr/>
      <dgm:t>
        <a:bodyPr/>
        <a:lstStyle/>
        <a:p>
          <a:endParaRPr lang="ru-RU"/>
        </a:p>
      </dgm:t>
    </dgm:pt>
    <dgm:pt modelId="{93704ADD-4403-4407-8AB1-6DFC615EA455}" type="pres">
      <dgm:prSet presAssocID="{89C3F3F1-F04D-4CA0-AA23-73B65B058F97}" presName="compChildNode" presStyleCnt="0"/>
      <dgm:spPr/>
    </dgm:pt>
    <dgm:pt modelId="{56DEABAA-C6F3-45B2-9A27-66DD07E1D7CF}" type="pres">
      <dgm:prSet presAssocID="{89C3F3F1-F04D-4CA0-AA23-73B65B058F97}" presName="theInnerList" presStyleCnt="0"/>
      <dgm:spPr/>
    </dgm:pt>
    <dgm:pt modelId="{7C4C355C-BC27-4CB7-A7C2-0BCF2405CFBB}" type="pres">
      <dgm:prSet presAssocID="{ED4B7D1F-D85D-44FF-A6B8-3DC78323EE09}" presName="child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A22A6B9-92C4-4A2D-8C24-06355AE3A373}" type="pres">
      <dgm:prSet presAssocID="{ED4B7D1F-D85D-44FF-A6B8-3DC78323EE09}" presName="aSpace2" presStyleCnt="0"/>
      <dgm:spPr/>
    </dgm:pt>
    <dgm:pt modelId="{65197ABA-D384-40A9-8875-09BFEADA7321}" type="pres">
      <dgm:prSet presAssocID="{F8CC57AA-D8A7-4D0F-B2A5-8E5FD41A66C8}" presName="child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5CD8072-6A6C-4EA8-9E93-DC9FEF3F15FA}" type="presOf" srcId="{5B039FA7-78C1-442B-9260-6F232FC04636}" destId="{A5794835-495D-4801-B5DD-51E9FC712920}" srcOrd="0" destOrd="0" presId="urn:microsoft.com/office/officeart/2005/8/layout/lProcess2"/>
    <dgm:cxn modelId="{81A01430-4BBA-4F48-A0D4-A69B0FC9728E}" srcId="{F3BDFB1C-1D3B-4763-8BDF-9A0C6414CE46}" destId="{89C3F3F1-F04D-4CA0-AA23-73B65B058F97}" srcOrd="2" destOrd="0" parTransId="{93C2F367-BF94-4B49-84C3-90723A2559A4}" sibTransId="{7FB205AE-49F7-4CA7-8F1B-33E5CCB86FE2}"/>
    <dgm:cxn modelId="{49A1959B-9112-488B-9284-095C49F6EB60}" type="presOf" srcId="{F8CC57AA-D8A7-4D0F-B2A5-8E5FD41A66C8}" destId="{65197ABA-D384-40A9-8875-09BFEADA7321}" srcOrd="0" destOrd="0" presId="urn:microsoft.com/office/officeart/2005/8/layout/lProcess2"/>
    <dgm:cxn modelId="{0B5DB2A2-78A7-47B5-850E-51A0FA0ED6D5}" srcId="{F3BDFB1C-1D3B-4763-8BDF-9A0C6414CE46}" destId="{A044767E-D98D-4A11-AF28-85FF3B75317C}" srcOrd="1" destOrd="0" parTransId="{918BE1E2-7C21-4A88-99E6-71B9E2086807}" sibTransId="{61C4B9C6-2465-4B99-8B0D-E90DF9A0A89E}"/>
    <dgm:cxn modelId="{329C3714-D698-4AD0-8A2F-51574A7A7386}" srcId="{89C3F3F1-F04D-4CA0-AA23-73B65B058F97}" destId="{F8CC57AA-D8A7-4D0F-B2A5-8E5FD41A66C8}" srcOrd="1" destOrd="0" parTransId="{ED277891-241F-45E5-A924-630F89F56DE9}" sibTransId="{CCB24728-3614-48BD-B824-F9C96BF19A6A}"/>
    <dgm:cxn modelId="{40A14438-352D-4875-BACF-BD72930807D4}" srcId="{A044767E-D98D-4A11-AF28-85FF3B75317C}" destId="{5B039FA7-78C1-442B-9260-6F232FC04636}" srcOrd="0" destOrd="0" parTransId="{5F054153-A64A-4350-97F3-4916EA6AB0DE}" sibTransId="{D4273F00-5C75-4BCC-8641-362AFFDE9023}"/>
    <dgm:cxn modelId="{86FFCC86-FACD-4233-A949-A87B013BA634}" srcId="{89C3F3F1-F04D-4CA0-AA23-73B65B058F97}" destId="{ED4B7D1F-D85D-44FF-A6B8-3DC78323EE09}" srcOrd="0" destOrd="0" parTransId="{44F92921-C270-4DD2-8DDD-F9468C1D6264}" sibTransId="{82D7B527-444F-4C5B-AF5A-858C62C09D98}"/>
    <dgm:cxn modelId="{57EDCEB4-7561-4A76-ABE8-E83CCAA43327}" type="presOf" srcId="{89C3F3F1-F04D-4CA0-AA23-73B65B058F97}" destId="{B43C3F6C-983E-4CE7-B59C-0D9D9A887A56}" srcOrd="1" destOrd="0" presId="urn:microsoft.com/office/officeart/2005/8/layout/lProcess2"/>
    <dgm:cxn modelId="{23C2B667-8201-4F17-8868-E1A22FFF53F0}" type="presOf" srcId="{2F59BDF0-F8A1-4C03-811E-34D33DA058BB}" destId="{CDB3F5B3-FB12-4ADC-9552-B9F6404F78D4}" srcOrd="0" destOrd="0" presId="urn:microsoft.com/office/officeart/2005/8/layout/lProcess2"/>
    <dgm:cxn modelId="{EF5B278F-25EF-4672-9B3E-4A0AAEC9E16C}" type="presOf" srcId="{A044767E-D98D-4A11-AF28-85FF3B75317C}" destId="{D1124199-F191-44F4-B89A-794BBA781E24}" srcOrd="1" destOrd="0" presId="urn:microsoft.com/office/officeart/2005/8/layout/lProcess2"/>
    <dgm:cxn modelId="{6E92A1A7-9063-441F-8C4A-34CB329822FC}" type="presOf" srcId="{ED4B7D1F-D85D-44FF-A6B8-3DC78323EE09}" destId="{7C4C355C-BC27-4CB7-A7C2-0BCF2405CFBB}" srcOrd="0" destOrd="0" presId="urn:microsoft.com/office/officeart/2005/8/layout/lProcess2"/>
    <dgm:cxn modelId="{93D782AB-A7D5-4C0F-A5D3-C4964F11034A}" srcId="{F3BDFB1C-1D3B-4763-8BDF-9A0C6414CE46}" destId="{2F59BDF0-F8A1-4C03-811E-34D33DA058BB}" srcOrd="0" destOrd="0" parTransId="{1ABE6DA7-7DF1-4359-AE94-45A1CAC01F86}" sibTransId="{8F9DA785-26D0-4AAE-9BB9-8A7879C14407}"/>
    <dgm:cxn modelId="{2383ACAA-814D-4239-806C-5FFD28DC473B}" type="presOf" srcId="{2F59BDF0-F8A1-4C03-811E-34D33DA058BB}" destId="{3E564287-F247-4669-88A9-EADF22BDBD81}" srcOrd="1" destOrd="0" presId="urn:microsoft.com/office/officeart/2005/8/layout/lProcess2"/>
    <dgm:cxn modelId="{E6C34DD2-4C2E-4907-95DC-DE1993973D85}" type="presOf" srcId="{A044767E-D98D-4A11-AF28-85FF3B75317C}" destId="{D7D7E2EB-1607-4954-9C84-FC9844DD7A83}" srcOrd="0" destOrd="0" presId="urn:microsoft.com/office/officeart/2005/8/layout/lProcess2"/>
    <dgm:cxn modelId="{2274443C-05D6-4D41-BAD9-C502D6530FD4}" type="presOf" srcId="{89C3F3F1-F04D-4CA0-AA23-73B65B058F97}" destId="{4EA7DD2E-6DF0-4829-810D-25011906D1C2}" srcOrd="0" destOrd="0" presId="urn:microsoft.com/office/officeart/2005/8/layout/lProcess2"/>
    <dgm:cxn modelId="{5D6CCABC-4CEF-498A-A9C7-E8C9DE1A20A5}" srcId="{2F59BDF0-F8A1-4C03-811E-34D33DA058BB}" destId="{097B274B-9946-40E3-9770-B27F28E00D41}" srcOrd="0" destOrd="0" parTransId="{5EBC44C6-4DF5-4901-BBE1-0E25B3DDCFCE}" sibTransId="{BBACE343-E955-4A66-991A-81B858D71AD9}"/>
    <dgm:cxn modelId="{E21FE849-BD8F-43FB-8B32-7623FAC62497}" type="presOf" srcId="{097B274B-9946-40E3-9770-B27F28E00D41}" destId="{50ABF2AD-B33F-449A-A52C-6E778A7C7A68}" srcOrd="0" destOrd="0" presId="urn:microsoft.com/office/officeart/2005/8/layout/lProcess2"/>
    <dgm:cxn modelId="{FD192259-49B1-406D-890A-D177808EBA1B}" srcId="{2F59BDF0-F8A1-4C03-811E-34D33DA058BB}" destId="{3B259DC4-B5DB-46EB-8866-5E30C96611AA}" srcOrd="1" destOrd="0" parTransId="{CD542C30-9749-4934-8A63-B89991FFAA96}" sibTransId="{95157ABF-801B-4653-A2B9-EA95002467A0}"/>
    <dgm:cxn modelId="{1AF19BEB-8FED-4B60-944F-4034942C2477}" type="presOf" srcId="{3B259DC4-B5DB-46EB-8866-5E30C96611AA}" destId="{32FD1BB4-6973-4F76-A8F9-4114413FC20B}" srcOrd="0" destOrd="0" presId="urn:microsoft.com/office/officeart/2005/8/layout/lProcess2"/>
    <dgm:cxn modelId="{46C3EC4F-4EE9-48E0-B494-BF1555C743DA}" type="presOf" srcId="{F3BDFB1C-1D3B-4763-8BDF-9A0C6414CE46}" destId="{4E468E96-98A8-4159-9532-307B29CD124E}" srcOrd="0" destOrd="0" presId="urn:microsoft.com/office/officeart/2005/8/layout/lProcess2"/>
    <dgm:cxn modelId="{FF2478CA-1A50-4525-A612-6BF46D8949EC}" type="presParOf" srcId="{4E468E96-98A8-4159-9532-307B29CD124E}" destId="{60B25778-383E-4DEF-A35F-4F69462E427A}" srcOrd="0" destOrd="0" presId="urn:microsoft.com/office/officeart/2005/8/layout/lProcess2"/>
    <dgm:cxn modelId="{09E431EE-F7FA-4551-8894-99BC0E1D6E9C}" type="presParOf" srcId="{60B25778-383E-4DEF-A35F-4F69462E427A}" destId="{CDB3F5B3-FB12-4ADC-9552-B9F6404F78D4}" srcOrd="0" destOrd="0" presId="urn:microsoft.com/office/officeart/2005/8/layout/lProcess2"/>
    <dgm:cxn modelId="{939AA72A-2381-4B5A-A8D3-FEF3F48FF5C1}" type="presParOf" srcId="{60B25778-383E-4DEF-A35F-4F69462E427A}" destId="{3E564287-F247-4669-88A9-EADF22BDBD81}" srcOrd="1" destOrd="0" presId="urn:microsoft.com/office/officeart/2005/8/layout/lProcess2"/>
    <dgm:cxn modelId="{34EA3AF6-5D9F-40F4-A5F2-6DE01BEF746A}" type="presParOf" srcId="{60B25778-383E-4DEF-A35F-4F69462E427A}" destId="{1A36D4F4-99F1-4801-9406-5FD8CAC612E5}" srcOrd="2" destOrd="0" presId="urn:microsoft.com/office/officeart/2005/8/layout/lProcess2"/>
    <dgm:cxn modelId="{C7A07EFA-694E-4862-934D-AF00E5CC8734}" type="presParOf" srcId="{1A36D4F4-99F1-4801-9406-5FD8CAC612E5}" destId="{E23DBA2C-D04B-49C0-BCC5-5EC499891BC5}" srcOrd="0" destOrd="0" presId="urn:microsoft.com/office/officeart/2005/8/layout/lProcess2"/>
    <dgm:cxn modelId="{CC7BBD50-693E-46C9-BBFB-BFC608E3D1C7}" type="presParOf" srcId="{E23DBA2C-D04B-49C0-BCC5-5EC499891BC5}" destId="{50ABF2AD-B33F-449A-A52C-6E778A7C7A68}" srcOrd="0" destOrd="0" presId="urn:microsoft.com/office/officeart/2005/8/layout/lProcess2"/>
    <dgm:cxn modelId="{4338A5DB-FD07-440D-A711-A3FEC7358005}" type="presParOf" srcId="{E23DBA2C-D04B-49C0-BCC5-5EC499891BC5}" destId="{6BD8F302-D5C7-4BE7-95CE-CE7971D8C548}" srcOrd="1" destOrd="0" presId="urn:microsoft.com/office/officeart/2005/8/layout/lProcess2"/>
    <dgm:cxn modelId="{307EAC84-AE74-429B-BD75-06803DAB7B1C}" type="presParOf" srcId="{E23DBA2C-D04B-49C0-BCC5-5EC499891BC5}" destId="{32FD1BB4-6973-4F76-A8F9-4114413FC20B}" srcOrd="2" destOrd="0" presId="urn:microsoft.com/office/officeart/2005/8/layout/lProcess2"/>
    <dgm:cxn modelId="{A6E33010-C946-47D7-9991-C3189DCB1737}" type="presParOf" srcId="{4E468E96-98A8-4159-9532-307B29CD124E}" destId="{63F7B9BC-065B-44D8-A326-217EF5CE6FB2}" srcOrd="1" destOrd="0" presId="urn:microsoft.com/office/officeart/2005/8/layout/lProcess2"/>
    <dgm:cxn modelId="{EF97AE20-AD79-4279-8FA1-5C92E989FCC5}" type="presParOf" srcId="{4E468E96-98A8-4159-9532-307B29CD124E}" destId="{24B4337B-B7E9-4880-8E87-79C625C2C117}" srcOrd="2" destOrd="0" presId="urn:microsoft.com/office/officeart/2005/8/layout/lProcess2"/>
    <dgm:cxn modelId="{A2D9358E-D4A4-4F33-A984-77E4EBE38F0E}" type="presParOf" srcId="{24B4337B-B7E9-4880-8E87-79C625C2C117}" destId="{D7D7E2EB-1607-4954-9C84-FC9844DD7A83}" srcOrd="0" destOrd="0" presId="urn:microsoft.com/office/officeart/2005/8/layout/lProcess2"/>
    <dgm:cxn modelId="{40E7D887-BE68-4934-B00F-7542F297A569}" type="presParOf" srcId="{24B4337B-B7E9-4880-8E87-79C625C2C117}" destId="{D1124199-F191-44F4-B89A-794BBA781E24}" srcOrd="1" destOrd="0" presId="urn:microsoft.com/office/officeart/2005/8/layout/lProcess2"/>
    <dgm:cxn modelId="{E4745568-0998-48AC-A1D3-0FCE536516A7}" type="presParOf" srcId="{24B4337B-B7E9-4880-8E87-79C625C2C117}" destId="{6A88615E-9710-4DBC-8771-2017E86A81E1}" srcOrd="2" destOrd="0" presId="urn:microsoft.com/office/officeart/2005/8/layout/lProcess2"/>
    <dgm:cxn modelId="{01D1C2B6-E801-4F83-B0E0-326885417EB0}" type="presParOf" srcId="{6A88615E-9710-4DBC-8771-2017E86A81E1}" destId="{C4A343A7-938F-4951-9966-836AA5D07D48}" srcOrd="0" destOrd="0" presId="urn:microsoft.com/office/officeart/2005/8/layout/lProcess2"/>
    <dgm:cxn modelId="{DFD78DA2-7007-41E8-9E5F-394A7A99DDA6}" type="presParOf" srcId="{C4A343A7-938F-4951-9966-836AA5D07D48}" destId="{A5794835-495D-4801-B5DD-51E9FC712920}" srcOrd="0" destOrd="0" presId="urn:microsoft.com/office/officeart/2005/8/layout/lProcess2"/>
    <dgm:cxn modelId="{B80BB4EA-7832-4238-AEF7-D31CCAA13668}" type="presParOf" srcId="{4E468E96-98A8-4159-9532-307B29CD124E}" destId="{430004C5-DE8C-4D8A-B45F-F80E22C2E242}" srcOrd="3" destOrd="0" presId="urn:microsoft.com/office/officeart/2005/8/layout/lProcess2"/>
    <dgm:cxn modelId="{03AD1A34-E7D1-40E7-8B2F-6210544E16CF}" type="presParOf" srcId="{4E468E96-98A8-4159-9532-307B29CD124E}" destId="{FCAB5B5C-5D99-4E3D-95D0-008B385CF0A9}" srcOrd="4" destOrd="0" presId="urn:microsoft.com/office/officeart/2005/8/layout/lProcess2"/>
    <dgm:cxn modelId="{9D93458B-0660-4584-B0A2-59AB5140CE5F}" type="presParOf" srcId="{FCAB5B5C-5D99-4E3D-95D0-008B385CF0A9}" destId="{4EA7DD2E-6DF0-4829-810D-25011906D1C2}" srcOrd="0" destOrd="0" presId="urn:microsoft.com/office/officeart/2005/8/layout/lProcess2"/>
    <dgm:cxn modelId="{F5F40919-CA34-4FD0-8F76-10BAD84A3EF7}" type="presParOf" srcId="{FCAB5B5C-5D99-4E3D-95D0-008B385CF0A9}" destId="{B43C3F6C-983E-4CE7-B59C-0D9D9A887A56}" srcOrd="1" destOrd="0" presId="urn:microsoft.com/office/officeart/2005/8/layout/lProcess2"/>
    <dgm:cxn modelId="{DD9CA215-E4ED-4A30-BB20-6F2648F9306F}" type="presParOf" srcId="{FCAB5B5C-5D99-4E3D-95D0-008B385CF0A9}" destId="{93704ADD-4403-4407-8AB1-6DFC615EA455}" srcOrd="2" destOrd="0" presId="urn:microsoft.com/office/officeart/2005/8/layout/lProcess2"/>
    <dgm:cxn modelId="{7E9D7B7E-2287-40BF-BE55-8DB00382DF40}" type="presParOf" srcId="{93704ADD-4403-4407-8AB1-6DFC615EA455}" destId="{56DEABAA-C6F3-45B2-9A27-66DD07E1D7CF}" srcOrd="0" destOrd="0" presId="urn:microsoft.com/office/officeart/2005/8/layout/lProcess2"/>
    <dgm:cxn modelId="{ABE3AD68-C96E-4AEC-B936-550E4C6B334D}" type="presParOf" srcId="{56DEABAA-C6F3-45B2-9A27-66DD07E1D7CF}" destId="{7C4C355C-BC27-4CB7-A7C2-0BCF2405CFBB}" srcOrd="0" destOrd="0" presId="urn:microsoft.com/office/officeart/2005/8/layout/lProcess2"/>
    <dgm:cxn modelId="{C3D75CAC-37DA-48D3-BC3A-1549DBD42853}" type="presParOf" srcId="{56DEABAA-C6F3-45B2-9A27-66DD07E1D7CF}" destId="{5A22A6B9-92C4-4A2D-8C24-06355AE3A373}" srcOrd="1" destOrd="0" presId="urn:microsoft.com/office/officeart/2005/8/layout/lProcess2"/>
    <dgm:cxn modelId="{ED90BB61-C1EE-47B3-9F2A-DAC805EBFF5B}" type="presParOf" srcId="{56DEABAA-C6F3-45B2-9A27-66DD07E1D7CF}" destId="{65197ABA-D384-40A9-8875-09BFEADA7321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9A9DBEB-B4D9-4D46-BFEA-EFD7C3E8422C}" type="doc">
      <dgm:prSet loTypeId="urn:microsoft.com/office/officeart/2005/8/layout/vProcess5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464EB387-A825-4593-94D8-41FA98B67AC0}">
      <dgm:prSet phldrT="[Текст]"/>
      <dgm:spPr>
        <a:solidFill>
          <a:srgbClr val="565087"/>
        </a:solidFill>
      </dgm:spPr>
      <dgm:t>
        <a:bodyPr/>
        <a:lstStyle/>
        <a:p>
          <a:r>
            <a:rPr lang="ru-RU" dirty="0"/>
            <a:t>Отсутствие стратегического понимания о перечне необходимой от системы образования информации </a:t>
          </a:r>
        </a:p>
      </dgm:t>
    </dgm:pt>
    <dgm:pt modelId="{5D830BAA-905C-4CDE-9EBC-C0480E666DBF}" type="parTrans" cxnId="{69315BE8-4105-4D48-8338-20BD895B3DE0}">
      <dgm:prSet/>
      <dgm:spPr/>
      <dgm:t>
        <a:bodyPr/>
        <a:lstStyle/>
        <a:p>
          <a:endParaRPr lang="ru-RU"/>
        </a:p>
      </dgm:t>
    </dgm:pt>
    <dgm:pt modelId="{4B829223-0399-41C5-8B5E-528D9134AD04}" type="sibTrans" cxnId="{69315BE8-4105-4D48-8338-20BD895B3DE0}">
      <dgm:prSet/>
      <dgm:spPr>
        <a:solidFill>
          <a:srgbClr val="565087">
            <a:alpha val="90000"/>
          </a:srgbClr>
        </a:solidFill>
      </dgm:spPr>
      <dgm:t>
        <a:bodyPr/>
        <a:lstStyle/>
        <a:p>
          <a:endParaRPr lang="ru-RU"/>
        </a:p>
      </dgm:t>
    </dgm:pt>
    <dgm:pt modelId="{5F9901DF-C5C9-4417-BA50-D4A6B12A398B}">
      <dgm:prSet phldrT="[Текст]"/>
      <dgm:spPr>
        <a:solidFill>
          <a:srgbClr val="CDCDEB"/>
        </a:solidFill>
        <a:ln>
          <a:solidFill>
            <a:srgbClr val="8A8AD0"/>
          </a:solidFill>
        </a:ln>
      </dgm:spPr>
      <dgm:t>
        <a:bodyPr/>
        <a:lstStyle/>
        <a:p>
          <a:r>
            <a:rPr lang="ru-RU" dirty="0">
              <a:solidFill>
                <a:schemeClr val="tx1"/>
              </a:solidFill>
            </a:rPr>
            <a:t>Запросы и мониторинги </a:t>
          </a:r>
        </a:p>
      </dgm:t>
    </dgm:pt>
    <dgm:pt modelId="{A9E6B9CD-F74B-4444-B35B-EAE07FD21AFF}" type="parTrans" cxnId="{0CB308F6-F25A-49B2-A093-C5338C9403C7}">
      <dgm:prSet/>
      <dgm:spPr/>
      <dgm:t>
        <a:bodyPr/>
        <a:lstStyle/>
        <a:p>
          <a:endParaRPr lang="ru-RU"/>
        </a:p>
      </dgm:t>
    </dgm:pt>
    <dgm:pt modelId="{14590B0A-FB37-498E-9839-F94432153264}" type="sibTrans" cxnId="{0CB308F6-F25A-49B2-A093-C5338C9403C7}">
      <dgm:prSet/>
      <dgm:spPr>
        <a:solidFill>
          <a:srgbClr val="565087">
            <a:alpha val="90000"/>
          </a:srgbClr>
        </a:solidFill>
      </dgm:spPr>
      <dgm:t>
        <a:bodyPr/>
        <a:lstStyle/>
        <a:p>
          <a:endParaRPr lang="ru-RU"/>
        </a:p>
      </dgm:t>
    </dgm:pt>
    <dgm:pt modelId="{9B2470BF-88F5-4537-8499-F9C324C33853}">
      <dgm:prSet phldrT="[Текст]"/>
      <dgm:spPr>
        <a:solidFill>
          <a:srgbClr val="CDCDEB"/>
        </a:solidFill>
      </dgm:spPr>
      <dgm:t>
        <a:bodyPr/>
        <a:lstStyle/>
        <a:p>
          <a:r>
            <a:rPr lang="ru-RU" dirty="0">
              <a:solidFill>
                <a:schemeClr val="tx1"/>
              </a:solidFill>
            </a:rPr>
            <a:t>Отсутствие интеграции информационных систем и необходимых данных </a:t>
          </a:r>
        </a:p>
      </dgm:t>
    </dgm:pt>
    <dgm:pt modelId="{70BAA826-2C37-49CC-A702-6697AE554997}" type="parTrans" cxnId="{A92AAD6C-AE13-4E1A-A6D3-D879C10AE139}">
      <dgm:prSet/>
      <dgm:spPr/>
      <dgm:t>
        <a:bodyPr/>
        <a:lstStyle/>
        <a:p>
          <a:endParaRPr lang="ru-RU"/>
        </a:p>
      </dgm:t>
    </dgm:pt>
    <dgm:pt modelId="{363F3B5A-5A74-4960-AB4E-6CB4E9E064A8}" type="sibTrans" cxnId="{A92AAD6C-AE13-4E1A-A6D3-D879C10AE139}">
      <dgm:prSet/>
      <dgm:spPr>
        <a:solidFill>
          <a:srgbClr val="565087">
            <a:alpha val="90000"/>
          </a:srgbClr>
        </a:solidFill>
      </dgm:spPr>
      <dgm:t>
        <a:bodyPr/>
        <a:lstStyle/>
        <a:p>
          <a:endParaRPr lang="ru-RU"/>
        </a:p>
      </dgm:t>
    </dgm:pt>
    <dgm:pt modelId="{14AB05ED-7129-4E94-AB00-B63B83B59259}">
      <dgm:prSet/>
      <dgm:spPr>
        <a:solidFill>
          <a:srgbClr val="CDCDEB"/>
        </a:solidFill>
      </dgm:spPr>
      <dgm:t>
        <a:bodyPr/>
        <a:lstStyle/>
        <a:p>
          <a:r>
            <a:rPr lang="ru-RU" dirty="0">
              <a:solidFill>
                <a:schemeClr val="tx1"/>
              </a:solidFill>
            </a:rPr>
            <a:t>Отсутствие типовых форм документов и четких требований к методическим материалам  </a:t>
          </a:r>
        </a:p>
      </dgm:t>
    </dgm:pt>
    <dgm:pt modelId="{E8101F53-0EC1-4665-9FAE-6562061CBF84}" type="sibTrans" cxnId="{D7FE958C-261D-4F46-9812-510328BCF40C}">
      <dgm:prSet/>
      <dgm:spPr/>
      <dgm:t>
        <a:bodyPr/>
        <a:lstStyle/>
        <a:p>
          <a:endParaRPr lang="ru-RU"/>
        </a:p>
      </dgm:t>
    </dgm:pt>
    <dgm:pt modelId="{2A7B348E-1BA5-4F90-8636-64F43C309E67}" type="parTrans" cxnId="{D7FE958C-261D-4F46-9812-510328BCF40C}">
      <dgm:prSet/>
      <dgm:spPr/>
      <dgm:t>
        <a:bodyPr/>
        <a:lstStyle/>
        <a:p>
          <a:endParaRPr lang="ru-RU"/>
        </a:p>
      </dgm:t>
    </dgm:pt>
    <dgm:pt modelId="{B164563D-EA6A-442E-B768-AA387F3AB38F}">
      <dgm:prSet/>
      <dgm:spPr>
        <a:solidFill>
          <a:srgbClr val="CDCDEB"/>
        </a:solidFill>
      </dgm:spPr>
      <dgm:t>
        <a:bodyPr/>
        <a:lstStyle/>
        <a:p>
          <a:r>
            <a:rPr lang="ru-RU" dirty="0">
              <a:solidFill>
                <a:schemeClr val="tx1"/>
              </a:solidFill>
            </a:rPr>
            <a:t>Отсутствие управленческой логистики и четких рамок документации педагогических работников и ОО </a:t>
          </a:r>
        </a:p>
      </dgm:t>
    </dgm:pt>
    <dgm:pt modelId="{90DA79FA-4CEE-485E-A7F8-A0A566C14A1B}" type="parTrans" cxnId="{4E94051C-E43C-481B-936F-8DAE187E4A6D}">
      <dgm:prSet/>
      <dgm:spPr/>
      <dgm:t>
        <a:bodyPr/>
        <a:lstStyle/>
        <a:p>
          <a:endParaRPr lang="ru-RU"/>
        </a:p>
      </dgm:t>
    </dgm:pt>
    <dgm:pt modelId="{D5EACFD4-3FAD-444C-99FE-059662615B37}" type="sibTrans" cxnId="{4E94051C-E43C-481B-936F-8DAE187E4A6D}">
      <dgm:prSet/>
      <dgm:spPr>
        <a:solidFill>
          <a:srgbClr val="565087">
            <a:alpha val="90000"/>
          </a:srgbClr>
        </a:solidFill>
      </dgm:spPr>
      <dgm:t>
        <a:bodyPr/>
        <a:lstStyle/>
        <a:p>
          <a:endParaRPr lang="ru-RU"/>
        </a:p>
      </dgm:t>
    </dgm:pt>
    <dgm:pt modelId="{36C61C68-4B0F-4E96-A3A2-37581B5F0CF5}" type="pres">
      <dgm:prSet presAssocID="{C9A9DBEB-B4D9-4D46-BFEA-EFD7C3E8422C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D2EF0F3-8DA3-49BC-B18A-AC47BBFC4F39}" type="pres">
      <dgm:prSet presAssocID="{C9A9DBEB-B4D9-4D46-BFEA-EFD7C3E8422C}" presName="dummyMaxCanvas" presStyleCnt="0">
        <dgm:presLayoutVars/>
      </dgm:prSet>
      <dgm:spPr/>
    </dgm:pt>
    <dgm:pt modelId="{DF9B4135-B072-4429-9512-597977263A94}" type="pres">
      <dgm:prSet presAssocID="{C9A9DBEB-B4D9-4D46-BFEA-EFD7C3E8422C}" presName="FiveNodes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AE374EC-B7CF-4A71-920B-6BE8A6A3CD5C}" type="pres">
      <dgm:prSet presAssocID="{C9A9DBEB-B4D9-4D46-BFEA-EFD7C3E8422C}" presName="FiveNodes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62FF085-550C-4D60-845B-D819E40F8046}" type="pres">
      <dgm:prSet presAssocID="{C9A9DBEB-B4D9-4D46-BFEA-EFD7C3E8422C}" presName="FiveNodes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990784E-90CC-44A4-B04D-3ABE1184051E}" type="pres">
      <dgm:prSet presAssocID="{C9A9DBEB-B4D9-4D46-BFEA-EFD7C3E8422C}" presName="FiveNodes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433B5E-5B9D-4F1F-AAD0-F01F27A811FA}" type="pres">
      <dgm:prSet presAssocID="{C9A9DBEB-B4D9-4D46-BFEA-EFD7C3E8422C}" presName="FiveNodes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B089F72-CB85-435D-951C-C2FCFEC6E5A2}" type="pres">
      <dgm:prSet presAssocID="{C9A9DBEB-B4D9-4D46-BFEA-EFD7C3E8422C}" presName="FiveConn_1-2" presStyleLbl="f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A635C37-98F3-49EA-BB03-E805376AF95C}" type="pres">
      <dgm:prSet presAssocID="{C9A9DBEB-B4D9-4D46-BFEA-EFD7C3E8422C}" presName="FiveConn_2-3" presStyleLbl="f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E21EFE2-5152-432B-A8ED-88B3F72403ED}" type="pres">
      <dgm:prSet presAssocID="{C9A9DBEB-B4D9-4D46-BFEA-EFD7C3E8422C}" presName="FiveConn_3-4" presStyleLbl="f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29429D-A84A-48EE-B6D5-3878786BB3AB}" type="pres">
      <dgm:prSet presAssocID="{C9A9DBEB-B4D9-4D46-BFEA-EFD7C3E8422C}" presName="FiveConn_4-5" presStyleLbl="f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07762F7-9F59-4500-B41C-62BAE84974E5}" type="pres">
      <dgm:prSet presAssocID="{C9A9DBEB-B4D9-4D46-BFEA-EFD7C3E8422C}" presName="FiveNodes_1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FD8153D-A7F7-44C2-8F89-35C63A0FAA69}" type="pres">
      <dgm:prSet presAssocID="{C9A9DBEB-B4D9-4D46-BFEA-EFD7C3E8422C}" presName="FiveNodes_2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094803-5FD1-4353-B8A9-A9146584CFCE}" type="pres">
      <dgm:prSet presAssocID="{C9A9DBEB-B4D9-4D46-BFEA-EFD7C3E8422C}" presName="FiveNodes_3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9DEBA3-D1B7-481D-BC86-31FB73C49136}" type="pres">
      <dgm:prSet presAssocID="{C9A9DBEB-B4D9-4D46-BFEA-EFD7C3E8422C}" presName="FiveNodes_4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1693935-9C09-431F-9CD5-24E95F2D6559}" type="pres">
      <dgm:prSet presAssocID="{C9A9DBEB-B4D9-4D46-BFEA-EFD7C3E8422C}" presName="FiveNodes_5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7959A9E-077B-4596-9312-3415084B16CF}" type="presOf" srcId="{5F9901DF-C5C9-4417-BA50-D4A6B12A398B}" destId="{DAE374EC-B7CF-4A71-920B-6BE8A6A3CD5C}" srcOrd="0" destOrd="0" presId="urn:microsoft.com/office/officeart/2005/8/layout/vProcess5"/>
    <dgm:cxn modelId="{69315BE8-4105-4D48-8338-20BD895B3DE0}" srcId="{C9A9DBEB-B4D9-4D46-BFEA-EFD7C3E8422C}" destId="{464EB387-A825-4593-94D8-41FA98B67AC0}" srcOrd="0" destOrd="0" parTransId="{5D830BAA-905C-4CDE-9EBC-C0480E666DBF}" sibTransId="{4B829223-0399-41C5-8B5E-528D9134AD04}"/>
    <dgm:cxn modelId="{F13595AF-FD18-44D4-B0A3-7A68B8E3EC51}" type="presOf" srcId="{C9A9DBEB-B4D9-4D46-BFEA-EFD7C3E8422C}" destId="{36C61C68-4B0F-4E96-A3A2-37581B5F0CF5}" srcOrd="0" destOrd="0" presId="urn:microsoft.com/office/officeart/2005/8/layout/vProcess5"/>
    <dgm:cxn modelId="{10F01DE1-AEBA-463B-83E6-72DB8FF7A755}" type="presOf" srcId="{B164563D-EA6A-442E-B768-AA387F3AB38F}" destId="{0C094803-5FD1-4353-B8A9-A9146584CFCE}" srcOrd="1" destOrd="0" presId="urn:microsoft.com/office/officeart/2005/8/layout/vProcess5"/>
    <dgm:cxn modelId="{00BD3DED-58BF-4234-B95E-98241F483984}" type="presOf" srcId="{363F3B5A-5A74-4960-AB4E-6CB4E9E064A8}" destId="{F029429D-A84A-48EE-B6D5-3878786BB3AB}" srcOrd="0" destOrd="0" presId="urn:microsoft.com/office/officeart/2005/8/layout/vProcess5"/>
    <dgm:cxn modelId="{0759A584-DADF-4324-B2B7-D4122C754B6D}" type="presOf" srcId="{464EB387-A825-4593-94D8-41FA98B67AC0}" destId="{107762F7-9F59-4500-B41C-62BAE84974E5}" srcOrd="1" destOrd="0" presId="urn:microsoft.com/office/officeart/2005/8/layout/vProcess5"/>
    <dgm:cxn modelId="{920DAB3A-E108-4848-AFE7-1AE39438C197}" type="presOf" srcId="{9B2470BF-88F5-4537-8499-F9C324C33853}" destId="{4B9DEBA3-D1B7-481D-BC86-31FB73C49136}" srcOrd="1" destOrd="0" presId="urn:microsoft.com/office/officeart/2005/8/layout/vProcess5"/>
    <dgm:cxn modelId="{5B4F7C7A-8C6E-4D0E-8BE3-5D2C496B6BEC}" type="presOf" srcId="{464EB387-A825-4593-94D8-41FA98B67AC0}" destId="{DF9B4135-B072-4429-9512-597977263A94}" srcOrd="0" destOrd="0" presId="urn:microsoft.com/office/officeart/2005/8/layout/vProcess5"/>
    <dgm:cxn modelId="{0ECA10AF-D31E-47EF-A245-14B3C4B2DB81}" type="presOf" srcId="{B164563D-EA6A-442E-B768-AA387F3AB38F}" destId="{362FF085-550C-4D60-845B-D819E40F8046}" srcOrd="0" destOrd="0" presId="urn:microsoft.com/office/officeart/2005/8/layout/vProcess5"/>
    <dgm:cxn modelId="{3C618AAF-A59C-4BE8-95AF-1E7106A23322}" type="presOf" srcId="{4B829223-0399-41C5-8B5E-528D9134AD04}" destId="{7B089F72-CB85-435D-951C-C2FCFEC6E5A2}" srcOrd="0" destOrd="0" presId="urn:microsoft.com/office/officeart/2005/8/layout/vProcess5"/>
    <dgm:cxn modelId="{4E94051C-E43C-481B-936F-8DAE187E4A6D}" srcId="{C9A9DBEB-B4D9-4D46-BFEA-EFD7C3E8422C}" destId="{B164563D-EA6A-442E-B768-AA387F3AB38F}" srcOrd="2" destOrd="0" parTransId="{90DA79FA-4CEE-485E-A7F8-A0A566C14A1B}" sibTransId="{D5EACFD4-3FAD-444C-99FE-059662615B37}"/>
    <dgm:cxn modelId="{A6BDB1E4-1292-4F21-AB9A-CA18BECAE3EE}" type="presOf" srcId="{14AB05ED-7129-4E94-AB00-B63B83B59259}" destId="{21693935-9C09-431F-9CD5-24E95F2D6559}" srcOrd="1" destOrd="0" presId="urn:microsoft.com/office/officeart/2005/8/layout/vProcess5"/>
    <dgm:cxn modelId="{0CB308F6-F25A-49B2-A093-C5338C9403C7}" srcId="{C9A9DBEB-B4D9-4D46-BFEA-EFD7C3E8422C}" destId="{5F9901DF-C5C9-4417-BA50-D4A6B12A398B}" srcOrd="1" destOrd="0" parTransId="{A9E6B9CD-F74B-4444-B35B-EAE07FD21AFF}" sibTransId="{14590B0A-FB37-498E-9839-F94432153264}"/>
    <dgm:cxn modelId="{3D39B5B7-43AE-4C72-8D51-49C3BD884078}" type="presOf" srcId="{14AB05ED-7129-4E94-AB00-B63B83B59259}" destId="{86433B5E-5B9D-4F1F-AAD0-F01F27A811FA}" srcOrd="0" destOrd="0" presId="urn:microsoft.com/office/officeart/2005/8/layout/vProcess5"/>
    <dgm:cxn modelId="{8FFFF9E2-CB98-4744-ACAE-2E847081A4CE}" type="presOf" srcId="{14590B0A-FB37-498E-9839-F94432153264}" destId="{FA635C37-98F3-49EA-BB03-E805376AF95C}" srcOrd="0" destOrd="0" presId="urn:microsoft.com/office/officeart/2005/8/layout/vProcess5"/>
    <dgm:cxn modelId="{8A7F867E-949B-4433-8859-D7C3E88A9008}" type="presOf" srcId="{5F9901DF-C5C9-4417-BA50-D4A6B12A398B}" destId="{8FD8153D-A7F7-44C2-8F89-35C63A0FAA69}" srcOrd="1" destOrd="0" presId="urn:microsoft.com/office/officeart/2005/8/layout/vProcess5"/>
    <dgm:cxn modelId="{A92AAD6C-AE13-4E1A-A6D3-D879C10AE139}" srcId="{C9A9DBEB-B4D9-4D46-BFEA-EFD7C3E8422C}" destId="{9B2470BF-88F5-4537-8499-F9C324C33853}" srcOrd="3" destOrd="0" parTransId="{70BAA826-2C37-49CC-A702-6697AE554997}" sibTransId="{363F3B5A-5A74-4960-AB4E-6CB4E9E064A8}"/>
    <dgm:cxn modelId="{2C7829FC-12B2-4CDA-8BF1-1D76A4366DAB}" type="presOf" srcId="{9B2470BF-88F5-4537-8499-F9C324C33853}" destId="{7990784E-90CC-44A4-B04D-3ABE1184051E}" srcOrd="0" destOrd="0" presId="urn:microsoft.com/office/officeart/2005/8/layout/vProcess5"/>
    <dgm:cxn modelId="{79D00C48-55A5-4640-8F37-D7D0695DD0B7}" type="presOf" srcId="{D5EACFD4-3FAD-444C-99FE-059662615B37}" destId="{7E21EFE2-5152-432B-A8ED-88B3F72403ED}" srcOrd="0" destOrd="0" presId="urn:microsoft.com/office/officeart/2005/8/layout/vProcess5"/>
    <dgm:cxn modelId="{D7FE958C-261D-4F46-9812-510328BCF40C}" srcId="{C9A9DBEB-B4D9-4D46-BFEA-EFD7C3E8422C}" destId="{14AB05ED-7129-4E94-AB00-B63B83B59259}" srcOrd="4" destOrd="0" parTransId="{2A7B348E-1BA5-4F90-8636-64F43C309E67}" sibTransId="{E8101F53-0EC1-4665-9FAE-6562061CBF84}"/>
    <dgm:cxn modelId="{FD306E93-3A98-4414-8EA3-1A5628FE2C00}" type="presParOf" srcId="{36C61C68-4B0F-4E96-A3A2-37581B5F0CF5}" destId="{DD2EF0F3-8DA3-49BC-B18A-AC47BBFC4F39}" srcOrd="0" destOrd="0" presId="urn:microsoft.com/office/officeart/2005/8/layout/vProcess5"/>
    <dgm:cxn modelId="{A5EF97AE-A824-4000-A4A7-4849909EB292}" type="presParOf" srcId="{36C61C68-4B0F-4E96-A3A2-37581B5F0CF5}" destId="{DF9B4135-B072-4429-9512-597977263A94}" srcOrd="1" destOrd="0" presId="urn:microsoft.com/office/officeart/2005/8/layout/vProcess5"/>
    <dgm:cxn modelId="{91C3F14B-EEF7-413D-BC55-21F0A6460828}" type="presParOf" srcId="{36C61C68-4B0F-4E96-A3A2-37581B5F0CF5}" destId="{DAE374EC-B7CF-4A71-920B-6BE8A6A3CD5C}" srcOrd="2" destOrd="0" presId="urn:microsoft.com/office/officeart/2005/8/layout/vProcess5"/>
    <dgm:cxn modelId="{764A88C2-62CC-4B49-8F6B-8715ED8B5649}" type="presParOf" srcId="{36C61C68-4B0F-4E96-A3A2-37581B5F0CF5}" destId="{362FF085-550C-4D60-845B-D819E40F8046}" srcOrd="3" destOrd="0" presId="urn:microsoft.com/office/officeart/2005/8/layout/vProcess5"/>
    <dgm:cxn modelId="{4E5B71DF-4CC0-40ED-A62C-2C066C9C5D20}" type="presParOf" srcId="{36C61C68-4B0F-4E96-A3A2-37581B5F0CF5}" destId="{7990784E-90CC-44A4-B04D-3ABE1184051E}" srcOrd="4" destOrd="0" presId="urn:microsoft.com/office/officeart/2005/8/layout/vProcess5"/>
    <dgm:cxn modelId="{C3FC4AF3-8F4C-4AE8-B20B-D7BD1E8FC554}" type="presParOf" srcId="{36C61C68-4B0F-4E96-A3A2-37581B5F0CF5}" destId="{86433B5E-5B9D-4F1F-AAD0-F01F27A811FA}" srcOrd="5" destOrd="0" presId="urn:microsoft.com/office/officeart/2005/8/layout/vProcess5"/>
    <dgm:cxn modelId="{EB6FA3DF-B77F-4916-9706-E048DD410006}" type="presParOf" srcId="{36C61C68-4B0F-4E96-A3A2-37581B5F0CF5}" destId="{7B089F72-CB85-435D-951C-C2FCFEC6E5A2}" srcOrd="6" destOrd="0" presId="urn:microsoft.com/office/officeart/2005/8/layout/vProcess5"/>
    <dgm:cxn modelId="{9DBABAD9-94E4-4C50-B7A7-7ACCC8457447}" type="presParOf" srcId="{36C61C68-4B0F-4E96-A3A2-37581B5F0CF5}" destId="{FA635C37-98F3-49EA-BB03-E805376AF95C}" srcOrd="7" destOrd="0" presId="urn:microsoft.com/office/officeart/2005/8/layout/vProcess5"/>
    <dgm:cxn modelId="{250EDB93-3D84-4DF8-96E1-BF2A2B63A270}" type="presParOf" srcId="{36C61C68-4B0F-4E96-A3A2-37581B5F0CF5}" destId="{7E21EFE2-5152-432B-A8ED-88B3F72403ED}" srcOrd="8" destOrd="0" presId="urn:microsoft.com/office/officeart/2005/8/layout/vProcess5"/>
    <dgm:cxn modelId="{CE24C3CF-9B29-4D1B-A980-97840C37B3DF}" type="presParOf" srcId="{36C61C68-4B0F-4E96-A3A2-37581B5F0CF5}" destId="{F029429D-A84A-48EE-B6D5-3878786BB3AB}" srcOrd="9" destOrd="0" presId="urn:microsoft.com/office/officeart/2005/8/layout/vProcess5"/>
    <dgm:cxn modelId="{EB0661D2-6DDC-4B3E-9379-AC095BF1EBED}" type="presParOf" srcId="{36C61C68-4B0F-4E96-A3A2-37581B5F0CF5}" destId="{107762F7-9F59-4500-B41C-62BAE84974E5}" srcOrd="10" destOrd="0" presId="urn:microsoft.com/office/officeart/2005/8/layout/vProcess5"/>
    <dgm:cxn modelId="{B884C295-E28A-41BF-8AD6-7F8BFB7CBE23}" type="presParOf" srcId="{36C61C68-4B0F-4E96-A3A2-37581B5F0CF5}" destId="{8FD8153D-A7F7-44C2-8F89-35C63A0FAA69}" srcOrd="11" destOrd="0" presId="urn:microsoft.com/office/officeart/2005/8/layout/vProcess5"/>
    <dgm:cxn modelId="{EB50974C-7FB6-407D-AE13-32F64C83C83B}" type="presParOf" srcId="{36C61C68-4B0F-4E96-A3A2-37581B5F0CF5}" destId="{0C094803-5FD1-4353-B8A9-A9146584CFCE}" srcOrd="12" destOrd="0" presId="urn:microsoft.com/office/officeart/2005/8/layout/vProcess5"/>
    <dgm:cxn modelId="{42E0AB87-F8EC-4404-A646-A6CEEF4F9EC9}" type="presParOf" srcId="{36C61C68-4B0F-4E96-A3A2-37581B5F0CF5}" destId="{4B9DEBA3-D1B7-481D-BC86-31FB73C49136}" srcOrd="13" destOrd="0" presId="urn:microsoft.com/office/officeart/2005/8/layout/vProcess5"/>
    <dgm:cxn modelId="{CA2816CF-ADA2-480D-B565-4ED1B1EDA60F}" type="presParOf" srcId="{36C61C68-4B0F-4E96-A3A2-37581B5F0CF5}" destId="{21693935-9C09-431F-9CD5-24E95F2D6559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195D7F84-53EC-4445-B85F-AC665E07210A}" type="doc">
      <dgm:prSet loTypeId="urn:microsoft.com/office/officeart/2005/8/layout/hProcess9" loCatId="process" qsTypeId="urn:microsoft.com/office/officeart/2005/8/quickstyle/simple3" qsCatId="simple" csTypeId="urn:microsoft.com/office/officeart/2005/8/colors/accent1_2" csCatId="accent1" phldr="1"/>
      <dgm:spPr/>
    </dgm:pt>
    <dgm:pt modelId="{4FC931E7-36C1-4F96-B3B3-5AE9B44AFD1E}">
      <dgm:prSet phldrT="[Текст]"/>
      <dgm:spPr/>
      <dgm:t>
        <a:bodyPr/>
        <a:lstStyle/>
        <a:p>
          <a:r>
            <a:rPr lang="ru-RU" dirty="0"/>
            <a:t>Снижение объема документации</a:t>
          </a:r>
        </a:p>
      </dgm:t>
    </dgm:pt>
    <dgm:pt modelId="{C12E667A-54B0-46AD-A635-83C7AFF55295}" type="parTrans" cxnId="{708DBD3F-75EF-4E70-8BCF-B40E721BA24E}">
      <dgm:prSet/>
      <dgm:spPr/>
      <dgm:t>
        <a:bodyPr/>
        <a:lstStyle/>
        <a:p>
          <a:endParaRPr lang="ru-RU"/>
        </a:p>
      </dgm:t>
    </dgm:pt>
    <dgm:pt modelId="{EEE989E9-16AA-4402-A45A-9FAD96C27259}" type="sibTrans" cxnId="{708DBD3F-75EF-4E70-8BCF-B40E721BA24E}">
      <dgm:prSet/>
      <dgm:spPr/>
      <dgm:t>
        <a:bodyPr/>
        <a:lstStyle/>
        <a:p>
          <a:endParaRPr lang="ru-RU"/>
        </a:p>
      </dgm:t>
    </dgm:pt>
    <dgm:pt modelId="{2B2BDB5D-D556-4F67-B5BB-5BC99AF9E092}">
      <dgm:prSet phldrT="[Текст]"/>
      <dgm:spPr/>
      <dgm:t>
        <a:bodyPr/>
        <a:lstStyle/>
        <a:p>
          <a:r>
            <a:rPr lang="ru-RU" dirty="0"/>
            <a:t>Снижение объема мониторингов </a:t>
          </a:r>
        </a:p>
      </dgm:t>
    </dgm:pt>
    <dgm:pt modelId="{2FE80524-0DA1-4DA4-9324-705BCE6EB930}" type="parTrans" cxnId="{7744A1B5-1494-46BE-8254-2AE413B838A6}">
      <dgm:prSet/>
      <dgm:spPr/>
      <dgm:t>
        <a:bodyPr/>
        <a:lstStyle/>
        <a:p>
          <a:endParaRPr lang="ru-RU"/>
        </a:p>
      </dgm:t>
    </dgm:pt>
    <dgm:pt modelId="{F02C0791-5DBF-4B8C-8F2B-A50CC63C3420}" type="sibTrans" cxnId="{7744A1B5-1494-46BE-8254-2AE413B838A6}">
      <dgm:prSet/>
      <dgm:spPr/>
      <dgm:t>
        <a:bodyPr/>
        <a:lstStyle/>
        <a:p>
          <a:endParaRPr lang="ru-RU"/>
        </a:p>
      </dgm:t>
    </dgm:pt>
    <dgm:pt modelId="{AB062311-6862-407F-B5E5-655A03672C39}">
      <dgm:prSet phldrT="[Текст]"/>
      <dgm:spPr/>
      <dgm:t>
        <a:bodyPr/>
        <a:lstStyle/>
        <a:p>
          <a:r>
            <a:rPr lang="ru-RU" dirty="0"/>
            <a:t>Оптимизация и интеграция  информационных систем </a:t>
          </a:r>
        </a:p>
      </dgm:t>
    </dgm:pt>
    <dgm:pt modelId="{E0D8E7A4-9865-4AB4-8969-F9B937BC824A}" type="parTrans" cxnId="{2B492D24-39A3-4D25-B67B-EA1585877D9D}">
      <dgm:prSet/>
      <dgm:spPr/>
      <dgm:t>
        <a:bodyPr/>
        <a:lstStyle/>
        <a:p>
          <a:endParaRPr lang="ru-RU"/>
        </a:p>
      </dgm:t>
    </dgm:pt>
    <dgm:pt modelId="{6EE26792-10B6-4765-A317-8BE9FA643026}" type="sibTrans" cxnId="{2B492D24-39A3-4D25-B67B-EA1585877D9D}">
      <dgm:prSet/>
      <dgm:spPr/>
      <dgm:t>
        <a:bodyPr/>
        <a:lstStyle/>
        <a:p>
          <a:endParaRPr lang="ru-RU"/>
        </a:p>
      </dgm:t>
    </dgm:pt>
    <dgm:pt modelId="{A02EDEF7-47D8-43D0-9237-DCE09E4E3DA9}">
      <dgm:prSet/>
      <dgm:spPr/>
      <dgm:t>
        <a:bodyPr/>
        <a:lstStyle/>
        <a:p>
          <a:r>
            <a:rPr lang="ru-RU" dirty="0"/>
            <a:t>Снижение количества запросов </a:t>
          </a:r>
        </a:p>
      </dgm:t>
    </dgm:pt>
    <dgm:pt modelId="{9E120780-D105-4D5E-8812-E2E87446EEB1}" type="parTrans" cxnId="{14863726-5E4B-4C38-9324-4FDB84A204DD}">
      <dgm:prSet/>
      <dgm:spPr/>
      <dgm:t>
        <a:bodyPr/>
        <a:lstStyle/>
        <a:p>
          <a:endParaRPr lang="ru-RU"/>
        </a:p>
      </dgm:t>
    </dgm:pt>
    <dgm:pt modelId="{1A4860C0-B954-4045-9A43-CDC5422C8C8F}" type="sibTrans" cxnId="{14863726-5E4B-4C38-9324-4FDB84A204DD}">
      <dgm:prSet/>
      <dgm:spPr/>
      <dgm:t>
        <a:bodyPr/>
        <a:lstStyle/>
        <a:p>
          <a:endParaRPr lang="ru-RU"/>
        </a:p>
      </dgm:t>
    </dgm:pt>
    <dgm:pt modelId="{3794C3A8-6F35-49E9-8F7B-6C25A1AB7DFB}" type="pres">
      <dgm:prSet presAssocID="{195D7F84-53EC-4445-B85F-AC665E07210A}" presName="CompostProcess" presStyleCnt="0">
        <dgm:presLayoutVars>
          <dgm:dir/>
          <dgm:resizeHandles val="exact"/>
        </dgm:presLayoutVars>
      </dgm:prSet>
      <dgm:spPr/>
    </dgm:pt>
    <dgm:pt modelId="{DA444C90-E2EA-4BC4-A4A3-3C0EB7F3951C}" type="pres">
      <dgm:prSet presAssocID="{195D7F84-53EC-4445-B85F-AC665E07210A}" presName="arrow" presStyleLbl="bgShp" presStyleIdx="0" presStyleCnt="1"/>
      <dgm:spPr/>
    </dgm:pt>
    <dgm:pt modelId="{318D07F4-0C5B-49E1-AD59-3FCA1A426037}" type="pres">
      <dgm:prSet presAssocID="{195D7F84-53EC-4445-B85F-AC665E07210A}" presName="linearProcess" presStyleCnt="0"/>
      <dgm:spPr/>
    </dgm:pt>
    <dgm:pt modelId="{3570F700-2951-4DB2-A233-A00B1F52E211}" type="pres">
      <dgm:prSet presAssocID="{4FC931E7-36C1-4F96-B3B3-5AE9B44AFD1E}" presName="tex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27177AD-C9B8-4A9A-8C3F-5B6946CB770A}" type="pres">
      <dgm:prSet presAssocID="{EEE989E9-16AA-4402-A45A-9FAD96C27259}" presName="sibTrans" presStyleCnt="0"/>
      <dgm:spPr/>
    </dgm:pt>
    <dgm:pt modelId="{73CD7F6F-5C8D-4CE1-9EB9-B9134D4100E9}" type="pres">
      <dgm:prSet presAssocID="{2B2BDB5D-D556-4F67-B5BB-5BC99AF9E092}" presName="text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F775D7C-80AD-460F-9C62-08EFC4B76993}" type="pres">
      <dgm:prSet presAssocID="{F02C0791-5DBF-4B8C-8F2B-A50CC63C3420}" presName="sibTrans" presStyleCnt="0"/>
      <dgm:spPr/>
    </dgm:pt>
    <dgm:pt modelId="{2FCF2879-2DEC-45E0-8723-BFF92A221EAB}" type="pres">
      <dgm:prSet presAssocID="{AB062311-6862-407F-B5E5-655A03672C39}" presName="text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F344D66-4099-4F36-AC2F-EC9B2F62500A}" type="pres">
      <dgm:prSet presAssocID="{6EE26792-10B6-4765-A317-8BE9FA643026}" presName="sibTrans" presStyleCnt="0"/>
      <dgm:spPr/>
    </dgm:pt>
    <dgm:pt modelId="{3AA569DE-2B99-4A3F-B54D-21428893EBE0}" type="pres">
      <dgm:prSet presAssocID="{A02EDEF7-47D8-43D0-9237-DCE09E4E3DA9}" presName="text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59468A2-2E82-4250-83ED-59E69FA2D7AF}" type="presOf" srcId="{4FC931E7-36C1-4F96-B3B3-5AE9B44AFD1E}" destId="{3570F700-2951-4DB2-A233-A00B1F52E211}" srcOrd="0" destOrd="0" presId="urn:microsoft.com/office/officeart/2005/8/layout/hProcess9"/>
    <dgm:cxn modelId="{14863726-5E4B-4C38-9324-4FDB84A204DD}" srcId="{195D7F84-53EC-4445-B85F-AC665E07210A}" destId="{A02EDEF7-47D8-43D0-9237-DCE09E4E3DA9}" srcOrd="3" destOrd="0" parTransId="{9E120780-D105-4D5E-8812-E2E87446EEB1}" sibTransId="{1A4860C0-B954-4045-9A43-CDC5422C8C8F}"/>
    <dgm:cxn modelId="{30D995A6-0302-40D4-8051-7604EF3EC967}" type="presOf" srcId="{AB062311-6862-407F-B5E5-655A03672C39}" destId="{2FCF2879-2DEC-45E0-8723-BFF92A221EAB}" srcOrd="0" destOrd="0" presId="urn:microsoft.com/office/officeart/2005/8/layout/hProcess9"/>
    <dgm:cxn modelId="{2B492D24-39A3-4D25-B67B-EA1585877D9D}" srcId="{195D7F84-53EC-4445-B85F-AC665E07210A}" destId="{AB062311-6862-407F-B5E5-655A03672C39}" srcOrd="2" destOrd="0" parTransId="{E0D8E7A4-9865-4AB4-8969-F9B937BC824A}" sibTransId="{6EE26792-10B6-4765-A317-8BE9FA643026}"/>
    <dgm:cxn modelId="{D3BE2526-42C7-4C79-8D83-DCB6DDE88272}" type="presOf" srcId="{2B2BDB5D-D556-4F67-B5BB-5BC99AF9E092}" destId="{73CD7F6F-5C8D-4CE1-9EB9-B9134D4100E9}" srcOrd="0" destOrd="0" presId="urn:microsoft.com/office/officeart/2005/8/layout/hProcess9"/>
    <dgm:cxn modelId="{7781D74A-CE17-4EA0-BDFB-E8F5DEEE2272}" type="presOf" srcId="{A02EDEF7-47D8-43D0-9237-DCE09E4E3DA9}" destId="{3AA569DE-2B99-4A3F-B54D-21428893EBE0}" srcOrd="0" destOrd="0" presId="urn:microsoft.com/office/officeart/2005/8/layout/hProcess9"/>
    <dgm:cxn modelId="{E3F25DA1-1EBE-4265-B767-9A12B4F29E1E}" type="presOf" srcId="{195D7F84-53EC-4445-B85F-AC665E07210A}" destId="{3794C3A8-6F35-49E9-8F7B-6C25A1AB7DFB}" srcOrd="0" destOrd="0" presId="urn:microsoft.com/office/officeart/2005/8/layout/hProcess9"/>
    <dgm:cxn modelId="{7744A1B5-1494-46BE-8254-2AE413B838A6}" srcId="{195D7F84-53EC-4445-B85F-AC665E07210A}" destId="{2B2BDB5D-D556-4F67-B5BB-5BC99AF9E092}" srcOrd="1" destOrd="0" parTransId="{2FE80524-0DA1-4DA4-9324-705BCE6EB930}" sibTransId="{F02C0791-5DBF-4B8C-8F2B-A50CC63C3420}"/>
    <dgm:cxn modelId="{708DBD3F-75EF-4E70-8BCF-B40E721BA24E}" srcId="{195D7F84-53EC-4445-B85F-AC665E07210A}" destId="{4FC931E7-36C1-4F96-B3B3-5AE9B44AFD1E}" srcOrd="0" destOrd="0" parTransId="{C12E667A-54B0-46AD-A635-83C7AFF55295}" sibTransId="{EEE989E9-16AA-4402-A45A-9FAD96C27259}"/>
    <dgm:cxn modelId="{D03B5140-DEE6-445C-973C-9CC3F4ED61D4}" type="presParOf" srcId="{3794C3A8-6F35-49E9-8F7B-6C25A1AB7DFB}" destId="{DA444C90-E2EA-4BC4-A4A3-3C0EB7F3951C}" srcOrd="0" destOrd="0" presId="urn:microsoft.com/office/officeart/2005/8/layout/hProcess9"/>
    <dgm:cxn modelId="{06FF6789-522C-46FF-A211-1BCF6D2ED11E}" type="presParOf" srcId="{3794C3A8-6F35-49E9-8F7B-6C25A1AB7DFB}" destId="{318D07F4-0C5B-49E1-AD59-3FCA1A426037}" srcOrd="1" destOrd="0" presId="urn:microsoft.com/office/officeart/2005/8/layout/hProcess9"/>
    <dgm:cxn modelId="{30EAE812-0E95-447B-82F8-ECAB1339F287}" type="presParOf" srcId="{318D07F4-0C5B-49E1-AD59-3FCA1A426037}" destId="{3570F700-2951-4DB2-A233-A00B1F52E211}" srcOrd="0" destOrd="0" presId="urn:microsoft.com/office/officeart/2005/8/layout/hProcess9"/>
    <dgm:cxn modelId="{45C04254-E423-4A85-90C2-C9DBA3D372F7}" type="presParOf" srcId="{318D07F4-0C5B-49E1-AD59-3FCA1A426037}" destId="{227177AD-C9B8-4A9A-8C3F-5B6946CB770A}" srcOrd="1" destOrd="0" presId="urn:microsoft.com/office/officeart/2005/8/layout/hProcess9"/>
    <dgm:cxn modelId="{4FB83284-ECEA-4AF5-B719-2EA29FB2DC7A}" type="presParOf" srcId="{318D07F4-0C5B-49E1-AD59-3FCA1A426037}" destId="{73CD7F6F-5C8D-4CE1-9EB9-B9134D4100E9}" srcOrd="2" destOrd="0" presId="urn:microsoft.com/office/officeart/2005/8/layout/hProcess9"/>
    <dgm:cxn modelId="{E7ED6D7B-D1C5-4B5F-8E79-8E62FE96FFE8}" type="presParOf" srcId="{318D07F4-0C5B-49E1-AD59-3FCA1A426037}" destId="{4F775D7C-80AD-460F-9C62-08EFC4B76993}" srcOrd="3" destOrd="0" presId="urn:microsoft.com/office/officeart/2005/8/layout/hProcess9"/>
    <dgm:cxn modelId="{3B74DA2B-AD03-42F7-859D-A5A15686C68A}" type="presParOf" srcId="{318D07F4-0C5B-49E1-AD59-3FCA1A426037}" destId="{2FCF2879-2DEC-45E0-8723-BFF92A221EAB}" srcOrd="4" destOrd="0" presId="urn:microsoft.com/office/officeart/2005/8/layout/hProcess9"/>
    <dgm:cxn modelId="{5F871C57-3001-4C75-9B4B-C11D6BFF0BA5}" type="presParOf" srcId="{318D07F4-0C5B-49E1-AD59-3FCA1A426037}" destId="{9F344D66-4099-4F36-AC2F-EC9B2F62500A}" srcOrd="5" destOrd="0" presId="urn:microsoft.com/office/officeart/2005/8/layout/hProcess9"/>
    <dgm:cxn modelId="{DFAAE2D2-87E0-476C-8266-8CC2EB31DE02}" type="presParOf" srcId="{318D07F4-0C5B-49E1-AD59-3FCA1A426037}" destId="{3AA569DE-2B99-4A3F-B54D-21428893EBE0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506B8B45-C210-4E47-9FD3-E763E32B6CB1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E47DE0B-97DC-402B-86EF-273F93468E4E}">
      <dgm:prSet phldrT="[Текст]"/>
      <dgm:spPr/>
      <dgm:t>
        <a:bodyPr/>
        <a:lstStyle/>
        <a:p>
          <a:r>
            <a:rPr lang="ru-RU" dirty="0"/>
            <a:t>Документация </a:t>
          </a:r>
        </a:p>
      </dgm:t>
    </dgm:pt>
    <dgm:pt modelId="{E4334707-E8E0-44F0-85DA-95076ADCF36E}" type="parTrans" cxnId="{E38F3EB7-2B24-481E-948D-412FE144804D}">
      <dgm:prSet/>
      <dgm:spPr/>
      <dgm:t>
        <a:bodyPr/>
        <a:lstStyle/>
        <a:p>
          <a:endParaRPr lang="ru-RU"/>
        </a:p>
      </dgm:t>
    </dgm:pt>
    <dgm:pt modelId="{06683A6B-96D5-4200-BF84-A656BC0AE656}" type="sibTrans" cxnId="{E38F3EB7-2B24-481E-948D-412FE144804D}">
      <dgm:prSet/>
      <dgm:spPr/>
      <dgm:t>
        <a:bodyPr/>
        <a:lstStyle/>
        <a:p>
          <a:endParaRPr lang="ru-RU"/>
        </a:p>
      </dgm:t>
    </dgm:pt>
    <dgm:pt modelId="{311AD59B-77CB-4082-AD51-B9B5478925AC}">
      <dgm:prSet phldrT="[Текст]"/>
      <dgm:spPr/>
      <dgm:t>
        <a:bodyPr/>
        <a:lstStyle/>
        <a:p>
          <a:r>
            <a:rPr lang="ru-RU" dirty="0"/>
            <a:t>Перечни документации педагогов</a:t>
          </a:r>
        </a:p>
      </dgm:t>
    </dgm:pt>
    <dgm:pt modelId="{18EFDCD5-3CBF-4320-A5DD-C1F09C585583}" type="parTrans" cxnId="{2DCF73DE-BF4F-440D-84B3-4C830FF2CADD}">
      <dgm:prSet/>
      <dgm:spPr/>
      <dgm:t>
        <a:bodyPr/>
        <a:lstStyle/>
        <a:p>
          <a:endParaRPr lang="ru-RU"/>
        </a:p>
      </dgm:t>
    </dgm:pt>
    <dgm:pt modelId="{DAD83F2A-9F91-49C0-B9BE-EB8766B4EF07}" type="sibTrans" cxnId="{2DCF73DE-BF4F-440D-84B3-4C830FF2CADD}">
      <dgm:prSet/>
      <dgm:spPr/>
      <dgm:t>
        <a:bodyPr/>
        <a:lstStyle/>
        <a:p>
          <a:endParaRPr lang="ru-RU"/>
        </a:p>
      </dgm:t>
    </dgm:pt>
    <dgm:pt modelId="{A45A900D-449D-4E75-899A-24B5AF0BD0AE}">
      <dgm:prSet phldrT="[Текст]"/>
      <dgm:spPr/>
      <dgm:t>
        <a:bodyPr/>
        <a:lstStyle/>
        <a:p>
          <a:r>
            <a:rPr lang="ru-RU" dirty="0"/>
            <a:t>Мониторинги </a:t>
          </a:r>
        </a:p>
      </dgm:t>
    </dgm:pt>
    <dgm:pt modelId="{357A1A3E-1EE5-4259-B4D7-A3D40914DF2C}" type="parTrans" cxnId="{C134D092-A011-402F-8175-A4616DD69FBB}">
      <dgm:prSet/>
      <dgm:spPr/>
      <dgm:t>
        <a:bodyPr/>
        <a:lstStyle/>
        <a:p>
          <a:endParaRPr lang="ru-RU"/>
        </a:p>
      </dgm:t>
    </dgm:pt>
    <dgm:pt modelId="{BFB8C0AA-377B-42F4-A7BA-7220F4039642}" type="sibTrans" cxnId="{C134D092-A011-402F-8175-A4616DD69FBB}">
      <dgm:prSet/>
      <dgm:spPr/>
      <dgm:t>
        <a:bodyPr/>
        <a:lstStyle/>
        <a:p>
          <a:endParaRPr lang="ru-RU"/>
        </a:p>
      </dgm:t>
    </dgm:pt>
    <dgm:pt modelId="{28A07DCC-B1F3-4CF5-B622-938F6832ABCE}">
      <dgm:prSet phldrT="[Текст]"/>
      <dgm:spPr/>
      <dgm:t>
        <a:bodyPr/>
        <a:lstStyle/>
        <a:p>
          <a:r>
            <a:rPr lang="ru-RU" dirty="0"/>
            <a:t>Перечни мониторингов и показателей </a:t>
          </a:r>
        </a:p>
      </dgm:t>
    </dgm:pt>
    <dgm:pt modelId="{46182ACC-9326-40F4-89BE-5B735FB5E11D}" type="parTrans" cxnId="{C9DA163E-09A9-42B5-B55D-67F2FF69A7CC}">
      <dgm:prSet/>
      <dgm:spPr/>
      <dgm:t>
        <a:bodyPr/>
        <a:lstStyle/>
        <a:p>
          <a:endParaRPr lang="ru-RU"/>
        </a:p>
      </dgm:t>
    </dgm:pt>
    <dgm:pt modelId="{1FE8B445-303A-4DF9-AF85-22ADA45E06AD}" type="sibTrans" cxnId="{C9DA163E-09A9-42B5-B55D-67F2FF69A7CC}">
      <dgm:prSet/>
      <dgm:spPr/>
      <dgm:t>
        <a:bodyPr/>
        <a:lstStyle/>
        <a:p>
          <a:endParaRPr lang="ru-RU"/>
        </a:p>
      </dgm:t>
    </dgm:pt>
    <dgm:pt modelId="{01142082-1D8A-4AC9-8165-8169F5DD8277}">
      <dgm:prSet phldrT="[Текст]"/>
      <dgm:spPr/>
      <dgm:t>
        <a:bodyPr/>
        <a:lstStyle/>
        <a:p>
          <a:r>
            <a:rPr lang="ru-RU" dirty="0"/>
            <a:t>Информационные системы </a:t>
          </a:r>
        </a:p>
      </dgm:t>
    </dgm:pt>
    <dgm:pt modelId="{3448A51E-6B30-49F9-BD5E-2F032CF4A092}" type="parTrans" cxnId="{777B49B3-73E2-4F8B-9ABD-BAADD6DE3E85}">
      <dgm:prSet/>
      <dgm:spPr/>
      <dgm:t>
        <a:bodyPr/>
        <a:lstStyle/>
        <a:p>
          <a:endParaRPr lang="ru-RU"/>
        </a:p>
      </dgm:t>
    </dgm:pt>
    <dgm:pt modelId="{804E74D1-BED5-4E4E-B68C-96C9F52EA308}" type="sibTrans" cxnId="{777B49B3-73E2-4F8B-9ABD-BAADD6DE3E85}">
      <dgm:prSet/>
      <dgm:spPr/>
      <dgm:t>
        <a:bodyPr/>
        <a:lstStyle/>
        <a:p>
          <a:endParaRPr lang="ru-RU"/>
        </a:p>
      </dgm:t>
    </dgm:pt>
    <dgm:pt modelId="{54DE2B6B-9C4E-47A6-8EAB-FE816B178108}">
      <dgm:prSet phldrT="[Текст]"/>
      <dgm:spPr/>
      <dgm:t>
        <a:bodyPr/>
        <a:lstStyle/>
        <a:p>
          <a:r>
            <a:rPr lang="ru-RU" dirty="0"/>
            <a:t>Перечни информационных систем и собираемых данных </a:t>
          </a:r>
        </a:p>
      </dgm:t>
    </dgm:pt>
    <dgm:pt modelId="{781D2649-79F7-474B-B35F-0D330B563F67}" type="parTrans" cxnId="{6F0A79F2-0070-4D31-81C6-B80467EE8473}">
      <dgm:prSet/>
      <dgm:spPr/>
      <dgm:t>
        <a:bodyPr/>
        <a:lstStyle/>
        <a:p>
          <a:endParaRPr lang="ru-RU"/>
        </a:p>
      </dgm:t>
    </dgm:pt>
    <dgm:pt modelId="{E8E67E9C-F952-4D05-A6F7-CD3D28BB7484}" type="sibTrans" cxnId="{6F0A79F2-0070-4D31-81C6-B80467EE8473}">
      <dgm:prSet/>
      <dgm:spPr/>
      <dgm:t>
        <a:bodyPr/>
        <a:lstStyle/>
        <a:p>
          <a:endParaRPr lang="ru-RU"/>
        </a:p>
      </dgm:t>
    </dgm:pt>
    <dgm:pt modelId="{E12F71A8-77EC-47FD-AE73-3CE01B415F06}">
      <dgm:prSet/>
      <dgm:spPr/>
      <dgm:t>
        <a:bodyPr/>
        <a:lstStyle/>
        <a:p>
          <a:r>
            <a:rPr lang="ru-RU" dirty="0"/>
            <a:t>Запросы </a:t>
          </a:r>
        </a:p>
      </dgm:t>
    </dgm:pt>
    <dgm:pt modelId="{0B7B1E89-C20A-4E47-A991-82ABAD1C8BB9}" type="parTrans" cxnId="{A9D6C0BC-0F01-4351-955C-97E1BA5E0BD6}">
      <dgm:prSet/>
      <dgm:spPr/>
      <dgm:t>
        <a:bodyPr/>
        <a:lstStyle/>
        <a:p>
          <a:endParaRPr lang="ru-RU"/>
        </a:p>
      </dgm:t>
    </dgm:pt>
    <dgm:pt modelId="{BC55B6A7-9DEC-4B07-BF4C-9C7C503FB745}" type="sibTrans" cxnId="{A9D6C0BC-0F01-4351-955C-97E1BA5E0BD6}">
      <dgm:prSet/>
      <dgm:spPr/>
      <dgm:t>
        <a:bodyPr/>
        <a:lstStyle/>
        <a:p>
          <a:endParaRPr lang="ru-RU"/>
        </a:p>
      </dgm:t>
    </dgm:pt>
    <dgm:pt modelId="{66B769F0-5887-4F60-81AF-82C3B5E20CF2}">
      <dgm:prSet/>
      <dgm:spPr/>
      <dgm:t>
        <a:bodyPr/>
        <a:lstStyle/>
        <a:p>
          <a:r>
            <a:rPr lang="ru-RU" dirty="0"/>
            <a:t>Механизм</a:t>
          </a:r>
          <a:r>
            <a:rPr lang="ru-RU" baseline="0" dirty="0"/>
            <a:t> допуска</a:t>
          </a:r>
          <a:endParaRPr lang="ru-RU" dirty="0"/>
        </a:p>
      </dgm:t>
    </dgm:pt>
    <dgm:pt modelId="{954F4FB9-F872-448B-8D3A-BDB9983E9776}" type="parTrans" cxnId="{093C36A3-61C5-4993-9DFF-998F975F42FC}">
      <dgm:prSet/>
      <dgm:spPr/>
      <dgm:t>
        <a:bodyPr/>
        <a:lstStyle/>
        <a:p>
          <a:endParaRPr lang="ru-RU"/>
        </a:p>
      </dgm:t>
    </dgm:pt>
    <dgm:pt modelId="{0BAF6866-3565-4292-8AF6-2AA7971B7014}" type="sibTrans" cxnId="{093C36A3-61C5-4993-9DFF-998F975F42FC}">
      <dgm:prSet/>
      <dgm:spPr/>
      <dgm:t>
        <a:bodyPr/>
        <a:lstStyle/>
        <a:p>
          <a:endParaRPr lang="ru-RU"/>
        </a:p>
      </dgm:t>
    </dgm:pt>
    <dgm:pt modelId="{E6E78BB1-0EEC-429D-BE30-23678DA070C6}">
      <dgm:prSet phldrT="[Текст]"/>
      <dgm:spPr/>
      <dgm:t>
        <a:bodyPr/>
        <a:lstStyle/>
        <a:p>
          <a:r>
            <a:rPr lang="ru-RU" dirty="0"/>
            <a:t>Перечни документации ОО</a:t>
          </a:r>
        </a:p>
      </dgm:t>
    </dgm:pt>
    <dgm:pt modelId="{A486814A-D9F9-4F5D-A63B-BF6952695F47}" type="parTrans" cxnId="{6A3EBB04-2D60-4B46-AFD5-0BBD21F19BCC}">
      <dgm:prSet/>
      <dgm:spPr/>
      <dgm:t>
        <a:bodyPr/>
        <a:lstStyle/>
        <a:p>
          <a:endParaRPr lang="ru-RU"/>
        </a:p>
      </dgm:t>
    </dgm:pt>
    <dgm:pt modelId="{A4B33E06-D4DC-46EE-8373-B49DC5131E00}" type="sibTrans" cxnId="{6A3EBB04-2D60-4B46-AFD5-0BBD21F19BCC}">
      <dgm:prSet/>
      <dgm:spPr/>
      <dgm:t>
        <a:bodyPr/>
        <a:lstStyle/>
        <a:p>
          <a:endParaRPr lang="ru-RU"/>
        </a:p>
      </dgm:t>
    </dgm:pt>
    <dgm:pt modelId="{7CCB5D7C-BC7A-4F91-865C-97237F537F61}">
      <dgm:prSet phldrT="[Текст]"/>
      <dgm:spPr/>
      <dgm:t>
        <a:bodyPr/>
        <a:lstStyle/>
        <a:p>
          <a:r>
            <a:rPr lang="ru-RU" dirty="0"/>
            <a:t>Типовые формы документов  </a:t>
          </a:r>
        </a:p>
      </dgm:t>
    </dgm:pt>
    <dgm:pt modelId="{4E8BD0D4-E022-4448-B293-84123D29CBE2}" type="parTrans" cxnId="{24851447-6742-437F-9D13-ABDD00B7368A}">
      <dgm:prSet/>
      <dgm:spPr/>
      <dgm:t>
        <a:bodyPr/>
        <a:lstStyle/>
        <a:p>
          <a:endParaRPr lang="ru-RU"/>
        </a:p>
      </dgm:t>
    </dgm:pt>
    <dgm:pt modelId="{3A37230A-1497-40D6-B398-B307BD084A41}" type="sibTrans" cxnId="{24851447-6742-437F-9D13-ABDD00B7368A}">
      <dgm:prSet/>
      <dgm:spPr/>
      <dgm:t>
        <a:bodyPr/>
        <a:lstStyle/>
        <a:p>
          <a:endParaRPr lang="ru-RU"/>
        </a:p>
      </dgm:t>
    </dgm:pt>
    <dgm:pt modelId="{1D97D1DD-F3BC-479B-8AC1-DD4199F9515B}">
      <dgm:prSet phldrT="[Текст]"/>
      <dgm:spPr/>
      <dgm:t>
        <a:bodyPr/>
        <a:lstStyle/>
        <a:p>
          <a:r>
            <a:rPr lang="ru-RU" dirty="0"/>
            <a:t>Оптимизация ИС</a:t>
          </a:r>
        </a:p>
      </dgm:t>
    </dgm:pt>
    <dgm:pt modelId="{636D61AB-50E7-4B71-9D78-D4960F1F672D}" type="parTrans" cxnId="{8D237440-DDA0-43B3-AEAF-D6AD57CD8599}">
      <dgm:prSet/>
      <dgm:spPr/>
      <dgm:t>
        <a:bodyPr/>
        <a:lstStyle/>
        <a:p>
          <a:endParaRPr lang="ru-RU"/>
        </a:p>
      </dgm:t>
    </dgm:pt>
    <dgm:pt modelId="{D7874764-8D24-40AB-A613-6F439BBCF100}" type="sibTrans" cxnId="{8D237440-DDA0-43B3-AEAF-D6AD57CD8599}">
      <dgm:prSet/>
      <dgm:spPr/>
      <dgm:t>
        <a:bodyPr/>
        <a:lstStyle/>
        <a:p>
          <a:endParaRPr lang="ru-RU"/>
        </a:p>
      </dgm:t>
    </dgm:pt>
    <dgm:pt modelId="{7B592C79-03C7-4F71-8C52-0C9CFEA94BEA}" type="pres">
      <dgm:prSet presAssocID="{506B8B45-C210-4E47-9FD3-E763E32B6CB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D83CF4F-558B-4BE1-848F-082960718750}" type="pres">
      <dgm:prSet presAssocID="{EE47DE0B-97DC-402B-86EF-273F93468E4E}" presName="composite" presStyleCnt="0"/>
      <dgm:spPr/>
    </dgm:pt>
    <dgm:pt modelId="{B83B48E3-52FC-452C-A77B-B45AED80A4A0}" type="pres">
      <dgm:prSet presAssocID="{EE47DE0B-97DC-402B-86EF-273F93468E4E}" presName="parTx" presStyleLbl="alignNode1" presStyleIdx="0" presStyleCnt="4" custLinFactNeighborX="500" custLinFactNeighborY="-1251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0700FF4-53A5-4568-815E-A446EA88823B}" type="pres">
      <dgm:prSet presAssocID="{EE47DE0B-97DC-402B-86EF-273F93468E4E}" presName="desTx" presStyleLbl="alignAccFollowNode1" presStyleIdx="0" presStyleCnt="4" custScaleX="100333" custScaleY="87269" custLinFactNeighborX="334" custLinFactNeighborY="-1055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16A2AB-93B2-4DBE-B0F4-58147AB99EF9}" type="pres">
      <dgm:prSet presAssocID="{06683A6B-96D5-4200-BF84-A656BC0AE656}" presName="space" presStyleCnt="0"/>
      <dgm:spPr/>
    </dgm:pt>
    <dgm:pt modelId="{30CAEF6F-83C6-4D00-8219-5B74F4C67031}" type="pres">
      <dgm:prSet presAssocID="{A45A900D-449D-4E75-899A-24B5AF0BD0AE}" presName="composite" presStyleCnt="0"/>
      <dgm:spPr/>
    </dgm:pt>
    <dgm:pt modelId="{8ADA405E-257E-4D72-A351-F0CBF502C7E0}" type="pres">
      <dgm:prSet presAssocID="{A45A900D-449D-4E75-899A-24B5AF0BD0AE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2279D8D-DDB4-4596-8DA2-EC97B21A20F6}" type="pres">
      <dgm:prSet presAssocID="{A45A900D-449D-4E75-899A-24B5AF0BD0AE}" presName="desTx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512DDC-51C6-4BF3-8E1A-41581FEF4F8A}" type="pres">
      <dgm:prSet presAssocID="{BFB8C0AA-377B-42F4-A7BA-7220F4039642}" presName="space" presStyleCnt="0"/>
      <dgm:spPr/>
    </dgm:pt>
    <dgm:pt modelId="{48EC85AC-C7DB-4250-90DF-F37D26201B54}" type="pres">
      <dgm:prSet presAssocID="{01142082-1D8A-4AC9-8165-8169F5DD8277}" presName="composite" presStyleCnt="0"/>
      <dgm:spPr/>
    </dgm:pt>
    <dgm:pt modelId="{FBA2DED2-25E1-4E14-BE3C-8F5ACE2C5841}" type="pres">
      <dgm:prSet presAssocID="{01142082-1D8A-4AC9-8165-8169F5DD8277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E89F62-9239-4A49-8868-BEA1085FE824}" type="pres">
      <dgm:prSet presAssocID="{01142082-1D8A-4AC9-8165-8169F5DD8277}" presName="desTx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516754-E445-4091-BB98-3FCC0964D6EE}" type="pres">
      <dgm:prSet presAssocID="{804E74D1-BED5-4E4E-B68C-96C9F52EA308}" presName="space" presStyleCnt="0"/>
      <dgm:spPr/>
    </dgm:pt>
    <dgm:pt modelId="{E625535E-A660-4C21-A735-4F116685741A}" type="pres">
      <dgm:prSet presAssocID="{E12F71A8-77EC-47FD-AE73-3CE01B415F06}" presName="composite" presStyleCnt="0"/>
      <dgm:spPr/>
    </dgm:pt>
    <dgm:pt modelId="{1A30CB1E-F15C-4D4A-9912-ED777B74C82C}" type="pres">
      <dgm:prSet presAssocID="{E12F71A8-77EC-47FD-AE73-3CE01B415F06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2477A5-92BE-4E74-B80F-B8A323B6EC76}" type="pres">
      <dgm:prSet presAssocID="{E12F71A8-77EC-47FD-AE73-3CE01B415F06}" presName="desTx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AF9B4A4-167A-4E62-858F-5BDD5E96727D}" type="presOf" srcId="{28A07DCC-B1F3-4CF5-B622-938F6832ABCE}" destId="{62279D8D-DDB4-4596-8DA2-EC97B21A20F6}" srcOrd="0" destOrd="0" presId="urn:microsoft.com/office/officeart/2005/8/layout/hList1"/>
    <dgm:cxn modelId="{3509641F-D1CE-4ADB-A23B-4EFC1141B2EE}" type="presOf" srcId="{01142082-1D8A-4AC9-8165-8169F5DD8277}" destId="{FBA2DED2-25E1-4E14-BE3C-8F5ACE2C5841}" srcOrd="0" destOrd="0" presId="urn:microsoft.com/office/officeart/2005/8/layout/hList1"/>
    <dgm:cxn modelId="{777B49B3-73E2-4F8B-9ABD-BAADD6DE3E85}" srcId="{506B8B45-C210-4E47-9FD3-E763E32B6CB1}" destId="{01142082-1D8A-4AC9-8165-8169F5DD8277}" srcOrd="2" destOrd="0" parTransId="{3448A51E-6B30-49F9-BD5E-2F032CF4A092}" sibTransId="{804E74D1-BED5-4E4E-B68C-96C9F52EA308}"/>
    <dgm:cxn modelId="{8D237440-DDA0-43B3-AEAF-D6AD57CD8599}" srcId="{01142082-1D8A-4AC9-8165-8169F5DD8277}" destId="{1D97D1DD-F3BC-479B-8AC1-DD4199F9515B}" srcOrd="1" destOrd="0" parTransId="{636D61AB-50E7-4B71-9D78-D4960F1F672D}" sibTransId="{D7874764-8D24-40AB-A613-6F439BBCF100}"/>
    <dgm:cxn modelId="{093C36A3-61C5-4993-9DFF-998F975F42FC}" srcId="{E12F71A8-77EC-47FD-AE73-3CE01B415F06}" destId="{66B769F0-5887-4F60-81AF-82C3B5E20CF2}" srcOrd="0" destOrd="0" parTransId="{954F4FB9-F872-448B-8D3A-BDB9983E9776}" sibTransId="{0BAF6866-3565-4292-8AF6-2AA7971B7014}"/>
    <dgm:cxn modelId="{1CBD715A-CB3D-4792-854C-BCCC067C6D61}" type="presOf" srcId="{EE47DE0B-97DC-402B-86EF-273F93468E4E}" destId="{B83B48E3-52FC-452C-A77B-B45AED80A4A0}" srcOrd="0" destOrd="0" presId="urn:microsoft.com/office/officeart/2005/8/layout/hList1"/>
    <dgm:cxn modelId="{6F0A79F2-0070-4D31-81C6-B80467EE8473}" srcId="{01142082-1D8A-4AC9-8165-8169F5DD8277}" destId="{54DE2B6B-9C4E-47A6-8EAB-FE816B178108}" srcOrd="0" destOrd="0" parTransId="{781D2649-79F7-474B-B35F-0D330B563F67}" sibTransId="{E8E67E9C-F952-4D05-A6F7-CD3D28BB7484}"/>
    <dgm:cxn modelId="{C9DA163E-09A9-42B5-B55D-67F2FF69A7CC}" srcId="{A45A900D-449D-4E75-899A-24B5AF0BD0AE}" destId="{28A07DCC-B1F3-4CF5-B622-938F6832ABCE}" srcOrd="0" destOrd="0" parTransId="{46182ACC-9326-40F4-89BE-5B735FB5E11D}" sibTransId="{1FE8B445-303A-4DF9-AF85-22ADA45E06AD}"/>
    <dgm:cxn modelId="{023209EB-C9BF-4D3C-805B-15517EEE7B15}" type="presOf" srcId="{E12F71A8-77EC-47FD-AE73-3CE01B415F06}" destId="{1A30CB1E-F15C-4D4A-9912-ED777B74C82C}" srcOrd="0" destOrd="0" presId="urn:microsoft.com/office/officeart/2005/8/layout/hList1"/>
    <dgm:cxn modelId="{0EC96783-4779-494E-A4A7-FB6B64DDCEE7}" type="presOf" srcId="{E6E78BB1-0EEC-429D-BE30-23678DA070C6}" destId="{40700FF4-53A5-4568-815E-A446EA88823B}" srcOrd="0" destOrd="1" presId="urn:microsoft.com/office/officeart/2005/8/layout/hList1"/>
    <dgm:cxn modelId="{24851447-6742-437F-9D13-ABDD00B7368A}" srcId="{EE47DE0B-97DC-402B-86EF-273F93468E4E}" destId="{7CCB5D7C-BC7A-4F91-865C-97237F537F61}" srcOrd="2" destOrd="0" parTransId="{4E8BD0D4-E022-4448-B293-84123D29CBE2}" sibTransId="{3A37230A-1497-40D6-B398-B307BD084A41}"/>
    <dgm:cxn modelId="{6A3EBB04-2D60-4B46-AFD5-0BBD21F19BCC}" srcId="{EE47DE0B-97DC-402B-86EF-273F93468E4E}" destId="{E6E78BB1-0EEC-429D-BE30-23678DA070C6}" srcOrd="1" destOrd="0" parTransId="{A486814A-D9F9-4F5D-A63B-BF6952695F47}" sibTransId="{A4B33E06-D4DC-46EE-8373-B49DC5131E00}"/>
    <dgm:cxn modelId="{E38F3EB7-2B24-481E-948D-412FE144804D}" srcId="{506B8B45-C210-4E47-9FD3-E763E32B6CB1}" destId="{EE47DE0B-97DC-402B-86EF-273F93468E4E}" srcOrd="0" destOrd="0" parTransId="{E4334707-E8E0-44F0-85DA-95076ADCF36E}" sibTransId="{06683A6B-96D5-4200-BF84-A656BC0AE656}"/>
    <dgm:cxn modelId="{5E3C53B5-C38A-451D-AF32-D6A9B17D88C8}" type="presOf" srcId="{7CCB5D7C-BC7A-4F91-865C-97237F537F61}" destId="{40700FF4-53A5-4568-815E-A446EA88823B}" srcOrd="0" destOrd="2" presId="urn:microsoft.com/office/officeart/2005/8/layout/hList1"/>
    <dgm:cxn modelId="{43333370-109E-4AD3-AFAB-97AF74B9D245}" type="presOf" srcId="{311AD59B-77CB-4082-AD51-B9B5478925AC}" destId="{40700FF4-53A5-4568-815E-A446EA88823B}" srcOrd="0" destOrd="0" presId="urn:microsoft.com/office/officeart/2005/8/layout/hList1"/>
    <dgm:cxn modelId="{C134D092-A011-402F-8175-A4616DD69FBB}" srcId="{506B8B45-C210-4E47-9FD3-E763E32B6CB1}" destId="{A45A900D-449D-4E75-899A-24B5AF0BD0AE}" srcOrd="1" destOrd="0" parTransId="{357A1A3E-1EE5-4259-B4D7-A3D40914DF2C}" sibTransId="{BFB8C0AA-377B-42F4-A7BA-7220F4039642}"/>
    <dgm:cxn modelId="{74F3D69B-7BB6-467E-A2D7-61B05343D91A}" type="presOf" srcId="{66B769F0-5887-4F60-81AF-82C3B5E20CF2}" destId="{802477A5-92BE-4E74-B80F-B8A323B6EC76}" srcOrd="0" destOrd="0" presId="urn:microsoft.com/office/officeart/2005/8/layout/hList1"/>
    <dgm:cxn modelId="{2DCF73DE-BF4F-440D-84B3-4C830FF2CADD}" srcId="{EE47DE0B-97DC-402B-86EF-273F93468E4E}" destId="{311AD59B-77CB-4082-AD51-B9B5478925AC}" srcOrd="0" destOrd="0" parTransId="{18EFDCD5-3CBF-4320-A5DD-C1F09C585583}" sibTransId="{DAD83F2A-9F91-49C0-B9BE-EB8766B4EF07}"/>
    <dgm:cxn modelId="{D1EE39B1-4271-4460-82DF-33E7652094F8}" type="presOf" srcId="{54DE2B6B-9C4E-47A6-8EAB-FE816B178108}" destId="{2BE89F62-9239-4A49-8868-BEA1085FE824}" srcOrd="0" destOrd="0" presId="urn:microsoft.com/office/officeart/2005/8/layout/hList1"/>
    <dgm:cxn modelId="{CD2702E6-4E33-4041-8FED-0EF4B5018145}" type="presOf" srcId="{A45A900D-449D-4E75-899A-24B5AF0BD0AE}" destId="{8ADA405E-257E-4D72-A351-F0CBF502C7E0}" srcOrd="0" destOrd="0" presId="urn:microsoft.com/office/officeart/2005/8/layout/hList1"/>
    <dgm:cxn modelId="{9DD0E462-2619-4B4E-BAC1-4B43EE2059B7}" type="presOf" srcId="{1D97D1DD-F3BC-479B-8AC1-DD4199F9515B}" destId="{2BE89F62-9239-4A49-8868-BEA1085FE824}" srcOrd="0" destOrd="1" presId="urn:microsoft.com/office/officeart/2005/8/layout/hList1"/>
    <dgm:cxn modelId="{097CD14A-4DE2-418F-B7AA-1D2F9DF43F03}" type="presOf" srcId="{506B8B45-C210-4E47-9FD3-E763E32B6CB1}" destId="{7B592C79-03C7-4F71-8C52-0C9CFEA94BEA}" srcOrd="0" destOrd="0" presId="urn:microsoft.com/office/officeart/2005/8/layout/hList1"/>
    <dgm:cxn modelId="{A9D6C0BC-0F01-4351-955C-97E1BA5E0BD6}" srcId="{506B8B45-C210-4E47-9FD3-E763E32B6CB1}" destId="{E12F71A8-77EC-47FD-AE73-3CE01B415F06}" srcOrd="3" destOrd="0" parTransId="{0B7B1E89-C20A-4E47-A991-82ABAD1C8BB9}" sibTransId="{BC55B6A7-9DEC-4B07-BF4C-9C7C503FB745}"/>
    <dgm:cxn modelId="{5233C5A1-15FD-4070-844D-E43C9F43EF0A}" type="presParOf" srcId="{7B592C79-03C7-4F71-8C52-0C9CFEA94BEA}" destId="{CD83CF4F-558B-4BE1-848F-082960718750}" srcOrd="0" destOrd="0" presId="urn:microsoft.com/office/officeart/2005/8/layout/hList1"/>
    <dgm:cxn modelId="{DB37D366-352F-42B8-A3E7-4B7493F66224}" type="presParOf" srcId="{CD83CF4F-558B-4BE1-848F-082960718750}" destId="{B83B48E3-52FC-452C-A77B-B45AED80A4A0}" srcOrd="0" destOrd="0" presId="urn:microsoft.com/office/officeart/2005/8/layout/hList1"/>
    <dgm:cxn modelId="{40EFF14F-8355-4CB9-9784-0568619A22B6}" type="presParOf" srcId="{CD83CF4F-558B-4BE1-848F-082960718750}" destId="{40700FF4-53A5-4568-815E-A446EA88823B}" srcOrd="1" destOrd="0" presId="urn:microsoft.com/office/officeart/2005/8/layout/hList1"/>
    <dgm:cxn modelId="{FC1EB242-C5C2-4F96-A9DB-17D81D59CA95}" type="presParOf" srcId="{7B592C79-03C7-4F71-8C52-0C9CFEA94BEA}" destId="{6A16A2AB-93B2-4DBE-B0F4-58147AB99EF9}" srcOrd="1" destOrd="0" presId="urn:microsoft.com/office/officeart/2005/8/layout/hList1"/>
    <dgm:cxn modelId="{74EFBF9F-B736-48E6-A3A7-FA2900F5ECBC}" type="presParOf" srcId="{7B592C79-03C7-4F71-8C52-0C9CFEA94BEA}" destId="{30CAEF6F-83C6-4D00-8219-5B74F4C67031}" srcOrd="2" destOrd="0" presId="urn:microsoft.com/office/officeart/2005/8/layout/hList1"/>
    <dgm:cxn modelId="{1BE9DC4A-24F3-4C52-8BA6-32E530714601}" type="presParOf" srcId="{30CAEF6F-83C6-4D00-8219-5B74F4C67031}" destId="{8ADA405E-257E-4D72-A351-F0CBF502C7E0}" srcOrd="0" destOrd="0" presId="urn:microsoft.com/office/officeart/2005/8/layout/hList1"/>
    <dgm:cxn modelId="{84080C8E-F9D8-4F42-9FBF-DED431FE7C27}" type="presParOf" srcId="{30CAEF6F-83C6-4D00-8219-5B74F4C67031}" destId="{62279D8D-DDB4-4596-8DA2-EC97B21A20F6}" srcOrd="1" destOrd="0" presId="urn:microsoft.com/office/officeart/2005/8/layout/hList1"/>
    <dgm:cxn modelId="{75C369B9-3591-47B1-A5E8-7FC90DAC9D0C}" type="presParOf" srcId="{7B592C79-03C7-4F71-8C52-0C9CFEA94BEA}" destId="{8D512DDC-51C6-4BF3-8E1A-41581FEF4F8A}" srcOrd="3" destOrd="0" presId="urn:microsoft.com/office/officeart/2005/8/layout/hList1"/>
    <dgm:cxn modelId="{0B77EA5F-2581-4CF7-80C5-60A57FEF0D86}" type="presParOf" srcId="{7B592C79-03C7-4F71-8C52-0C9CFEA94BEA}" destId="{48EC85AC-C7DB-4250-90DF-F37D26201B54}" srcOrd="4" destOrd="0" presId="urn:microsoft.com/office/officeart/2005/8/layout/hList1"/>
    <dgm:cxn modelId="{CF0FB771-E0C0-4EF9-A635-6FD9FF21D773}" type="presParOf" srcId="{48EC85AC-C7DB-4250-90DF-F37D26201B54}" destId="{FBA2DED2-25E1-4E14-BE3C-8F5ACE2C5841}" srcOrd="0" destOrd="0" presId="urn:microsoft.com/office/officeart/2005/8/layout/hList1"/>
    <dgm:cxn modelId="{A733AD41-509B-44F7-A81B-47B36BACAEB7}" type="presParOf" srcId="{48EC85AC-C7DB-4250-90DF-F37D26201B54}" destId="{2BE89F62-9239-4A49-8868-BEA1085FE824}" srcOrd="1" destOrd="0" presId="urn:microsoft.com/office/officeart/2005/8/layout/hList1"/>
    <dgm:cxn modelId="{1FE79247-E584-430B-BED5-B225ECD087C1}" type="presParOf" srcId="{7B592C79-03C7-4F71-8C52-0C9CFEA94BEA}" destId="{D4516754-E445-4091-BB98-3FCC0964D6EE}" srcOrd="5" destOrd="0" presId="urn:microsoft.com/office/officeart/2005/8/layout/hList1"/>
    <dgm:cxn modelId="{B714643B-820C-4E29-BE2D-A79BEB8CC3C5}" type="presParOf" srcId="{7B592C79-03C7-4F71-8C52-0C9CFEA94BEA}" destId="{E625535E-A660-4C21-A735-4F116685741A}" srcOrd="6" destOrd="0" presId="urn:microsoft.com/office/officeart/2005/8/layout/hList1"/>
    <dgm:cxn modelId="{EF36EE4E-74FF-4E72-ADB5-E93ACF02D458}" type="presParOf" srcId="{E625535E-A660-4C21-A735-4F116685741A}" destId="{1A30CB1E-F15C-4D4A-9912-ED777B74C82C}" srcOrd="0" destOrd="0" presId="urn:microsoft.com/office/officeart/2005/8/layout/hList1"/>
    <dgm:cxn modelId="{C2E1C7F9-1E8C-4D8E-8738-93EB14620D92}" type="presParOf" srcId="{E625535E-A660-4C21-A735-4F116685741A}" destId="{802477A5-92BE-4E74-B80F-B8A323B6EC76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91D4ED7-4C30-46FA-9A3D-A9F40B2930AA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0B60826-C3E8-4942-8242-3A9749C03027}">
      <dgm:prSet phldrT="[Текст]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ru-RU" dirty="0"/>
            <a:t>В каждом регионе назначены ответственные за снижение бюрократической нагрузки заместители министра  </a:t>
          </a:r>
        </a:p>
      </dgm:t>
    </dgm:pt>
    <dgm:pt modelId="{7F2264F9-0828-483C-BCDC-B2F35F1B85AB}" type="parTrans" cxnId="{54FE79D1-1CD5-48BB-9B10-3CED72AF4E69}">
      <dgm:prSet/>
      <dgm:spPr/>
      <dgm:t>
        <a:bodyPr/>
        <a:lstStyle/>
        <a:p>
          <a:endParaRPr lang="ru-RU"/>
        </a:p>
      </dgm:t>
    </dgm:pt>
    <dgm:pt modelId="{F9C2C790-127A-4383-A7A3-5B1B97ABE935}" type="sibTrans" cxnId="{54FE79D1-1CD5-48BB-9B10-3CED72AF4E69}">
      <dgm:prSet/>
      <dgm:spPr/>
      <dgm:t>
        <a:bodyPr/>
        <a:lstStyle/>
        <a:p>
          <a:endParaRPr lang="ru-RU"/>
        </a:p>
      </dgm:t>
    </dgm:pt>
    <dgm:pt modelId="{295DC994-39C0-4197-9645-9C181401B51F}">
      <dgm:prSet phldrT="[Текст]"/>
      <dgm:spPr>
        <a:solidFill>
          <a:schemeClr val="accent4">
            <a:lumMod val="50000"/>
          </a:schemeClr>
        </a:solidFill>
      </dgm:spPr>
      <dgm:t>
        <a:bodyPr/>
        <a:lstStyle/>
        <a:p>
          <a:endParaRPr lang="ru-RU" dirty="0"/>
        </a:p>
        <a:p>
          <a:r>
            <a:rPr lang="ru-RU" dirty="0"/>
            <a:t>Внести изменения в региональные и локальные НПА</a:t>
          </a:r>
        </a:p>
        <a:p>
          <a:endParaRPr lang="ru-RU" dirty="0"/>
        </a:p>
      </dgm:t>
    </dgm:pt>
    <dgm:pt modelId="{45C9D70D-F98D-4814-938C-8D3D440F7AC2}" type="parTrans" cxnId="{EBB6C7D7-1E1D-4018-B193-C3A00D4EEC00}">
      <dgm:prSet/>
      <dgm:spPr/>
      <dgm:t>
        <a:bodyPr/>
        <a:lstStyle/>
        <a:p>
          <a:endParaRPr lang="ru-RU"/>
        </a:p>
      </dgm:t>
    </dgm:pt>
    <dgm:pt modelId="{77EBB60F-66A3-43B5-B15E-FF9B69F84385}" type="sibTrans" cxnId="{EBB6C7D7-1E1D-4018-B193-C3A00D4EEC00}">
      <dgm:prSet/>
      <dgm:spPr/>
      <dgm:t>
        <a:bodyPr/>
        <a:lstStyle/>
        <a:p>
          <a:endParaRPr lang="ru-RU"/>
        </a:p>
      </dgm:t>
    </dgm:pt>
    <dgm:pt modelId="{557D4FF4-0F09-4FF7-8BD4-4B48CEB75C7E}">
      <dgm:prSet phldrT="[Текст]"/>
      <dgm:spPr>
        <a:solidFill>
          <a:schemeClr val="accent4">
            <a:lumMod val="50000"/>
          </a:schemeClr>
        </a:solidFill>
      </dgm:spPr>
      <dgm:t>
        <a:bodyPr/>
        <a:lstStyle/>
        <a:p>
          <a:r>
            <a:rPr lang="ru-RU" dirty="0"/>
            <a:t>Создать региональную</a:t>
          </a:r>
        </a:p>
        <a:p>
          <a:r>
            <a:rPr lang="ru-RU" dirty="0"/>
            <a:t>«Горячую линию» </a:t>
          </a:r>
        </a:p>
      </dgm:t>
    </dgm:pt>
    <dgm:pt modelId="{AFCCB7D1-89FD-4565-808A-79E298B32BB9}" type="parTrans" cxnId="{775070AF-F7A3-4C2B-8B44-3F73CEA55761}">
      <dgm:prSet/>
      <dgm:spPr/>
      <dgm:t>
        <a:bodyPr/>
        <a:lstStyle/>
        <a:p>
          <a:endParaRPr lang="ru-RU"/>
        </a:p>
      </dgm:t>
    </dgm:pt>
    <dgm:pt modelId="{80C788C6-1C49-4678-83E5-00DD79A29B90}" type="sibTrans" cxnId="{775070AF-F7A3-4C2B-8B44-3F73CEA55761}">
      <dgm:prSet/>
      <dgm:spPr/>
      <dgm:t>
        <a:bodyPr/>
        <a:lstStyle/>
        <a:p>
          <a:endParaRPr lang="ru-RU"/>
        </a:p>
      </dgm:t>
    </dgm:pt>
    <dgm:pt modelId="{7FE886DD-AC1F-46BC-9C33-8D688CDAEE1B}">
      <dgm:prSet phldrT="[Текст]"/>
      <dgm:spPr>
        <a:solidFill>
          <a:schemeClr val="accent4">
            <a:lumMod val="50000"/>
          </a:schemeClr>
        </a:solidFill>
      </dgm:spPr>
      <dgm:t>
        <a:bodyPr/>
        <a:lstStyle/>
        <a:p>
          <a:r>
            <a:rPr lang="ru-RU" dirty="0"/>
            <a:t>Провести аудит региональных мониторингов и запросов с целью минимизации </a:t>
          </a:r>
        </a:p>
      </dgm:t>
    </dgm:pt>
    <dgm:pt modelId="{26BC3042-8358-467B-9647-41EEE3547F6B}" type="parTrans" cxnId="{41CCF980-1B5B-4898-9F60-E83E797BF073}">
      <dgm:prSet/>
      <dgm:spPr/>
      <dgm:t>
        <a:bodyPr/>
        <a:lstStyle/>
        <a:p>
          <a:endParaRPr lang="ru-RU"/>
        </a:p>
      </dgm:t>
    </dgm:pt>
    <dgm:pt modelId="{8AF19842-59DF-406D-9CFD-1AED3DE34BF7}" type="sibTrans" cxnId="{41CCF980-1B5B-4898-9F60-E83E797BF073}">
      <dgm:prSet/>
      <dgm:spPr/>
      <dgm:t>
        <a:bodyPr/>
        <a:lstStyle/>
        <a:p>
          <a:endParaRPr lang="ru-RU"/>
        </a:p>
      </dgm:t>
    </dgm:pt>
    <dgm:pt modelId="{76C37517-9DFA-4205-99AE-DADEFF35838F}" type="pres">
      <dgm:prSet presAssocID="{691D4ED7-4C30-46FA-9A3D-A9F40B2930AA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73B4D39-DC01-4C8B-A110-6C992F2C33CF}" type="pres">
      <dgm:prSet presAssocID="{30B60826-C3E8-4942-8242-3A9749C03027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98DA798-58FC-4194-AF79-083C8342647B}" type="pres">
      <dgm:prSet presAssocID="{F9C2C790-127A-4383-A7A3-5B1B97ABE935}" presName="sibTrans" presStyleCnt="0"/>
      <dgm:spPr/>
    </dgm:pt>
    <dgm:pt modelId="{FEC5274F-DEDB-40A3-8CA6-A0596DBB4121}" type="pres">
      <dgm:prSet presAssocID="{295DC994-39C0-4197-9645-9C181401B51F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7277F1-B9F3-472A-A5B6-49E989588039}" type="pres">
      <dgm:prSet presAssocID="{77EBB60F-66A3-43B5-B15E-FF9B69F84385}" presName="sibTrans" presStyleCnt="0"/>
      <dgm:spPr/>
    </dgm:pt>
    <dgm:pt modelId="{3A590DF1-1274-46F6-B381-708C79BBEDCD}" type="pres">
      <dgm:prSet presAssocID="{557D4FF4-0F09-4FF7-8BD4-4B48CEB75C7E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F57026-5C27-44C0-B7D3-33DC481C9398}" type="pres">
      <dgm:prSet presAssocID="{80C788C6-1C49-4678-83E5-00DD79A29B90}" presName="sibTrans" presStyleCnt="0"/>
      <dgm:spPr/>
    </dgm:pt>
    <dgm:pt modelId="{0AD35DCA-7785-4CB9-BAB0-78DC318E56B7}" type="pres">
      <dgm:prSet presAssocID="{7FE886DD-AC1F-46BC-9C33-8D688CDAEE1B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3D618D8-CE19-48DC-B2E3-1867A52E5A88}" type="presOf" srcId="{30B60826-C3E8-4942-8242-3A9749C03027}" destId="{473B4D39-DC01-4C8B-A110-6C992F2C33CF}" srcOrd="0" destOrd="0" presId="urn:microsoft.com/office/officeart/2005/8/layout/default"/>
    <dgm:cxn modelId="{EBB6C7D7-1E1D-4018-B193-C3A00D4EEC00}" srcId="{691D4ED7-4C30-46FA-9A3D-A9F40B2930AA}" destId="{295DC994-39C0-4197-9645-9C181401B51F}" srcOrd="1" destOrd="0" parTransId="{45C9D70D-F98D-4814-938C-8D3D440F7AC2}" sibTransId="{77EBB60F-66A3-43B5-B15E-FF9B69F84385}"/>
    <dgm:cxn modelId="{F67A299A-56A6-4596-A5A2-75946F10AEDD}" type="presOf" srcId="{557D4FF4-0F09-4FF7-8BD4-4B48CEB75C7E}" destId="{3A590DF1-1274-46F6-B381-708C79BBEDCD}" srcOrd="0" destOrd="0" presId="urn:microsoft.com/office/officeart/2005/8/layout/default"/>
    <dgm:cxn modelId="{41CCF980-1B5B-4898-9F60-E83E797BF073}" srcId="{691D4ED7-4C30-46FA-9A3D-A9F40B2930AA}" destId="{7FE886DD-AC1F-46BC-9C33-8D688CDAEE1B}" srcOrd="3" destOrd="0" parTransId="{26BC3042-8358-467B-9647-41EEE3547F6B}" sibTransId="{8AF19842-59DF-406D-9CFD-1AED3DE34BF7}"/>
    <dgm:cxn modelId="{54FE79D1-1CD5-48BB-9B10-3CED72AF4E69}" srcId="{691D4ED7-4C30-46FA-9A3D-A9F40B2930AA}" destId="{30B60826-C3E8-4942-8242-3A9749C03027}" srcOrd="0" destOrd="0" parTransId="{7F2264F9-0828-483C-BCDC-B2F35F1B85AB}" sibTransId="{F9C2C790-127A-4383-A7A3-5B1B97ABE935}"/>
    <dgm:cxn modelId="{1D4E7A5F-C319-4B02-A572-C3082A74EB96}" type="presOf" srcId="{7FE886DD-AC1F-46BC-9C33-8D688CDAEE1B}" destId="{0AD35DCA-7785-4CB9-BAB0-78DC318E56B7}" srcOrd="0" destOrd="0" presId="urn:microsoft.com/office/officeart/2005/8/layout/default"/>
    <dgm:cxn modelId="{7B10EF41-389B-4728-8295-032F21E46029}" type="presOf" srcId="{691D4ED7-4C30-46FA-9A3D-A9F40B2930AA}" destId="{76C37517-9DFA-4205-99AE-DADEFF35838F}" srcOrd="0" destOrd="0" presId="urn:microsoft.com/office/officeart/2005/8/layout/default"/>
    <dgm:cxn modelId="{96D82C85-351E-471B-ABDA-D8571841AEAE}" type="presOf" srcId="{295DC994-39C0-4197-9645-9C181401B51F}" destId="{FEC5274F-DEDB-40A3-8CA6-A0596DBB4121}" srcOrd="0" destOrd="0" presId="urn:microsoft.com/office/officeart/2005/8/layout/default"/>
    <dgm:cxn modelId="{775070AF-F7A3-4C2B-8B44-3F73CEA55761}" srcId="{691D4ED7-4C30-46FA-9A3D-A9F40B2930AA}" destId="{557D4FF4-0F09-4FF7-8BD4-4B48CEB75C7E}" srcOrd="2" destOrd="0" parTransId="{AFCCB7D1-89FD-4565-808A-79E298B32BB9}" sibTransId="{80C788C6-1C49-4678-83E5-00DD79A29B90}"/>
    <dgm:cxn modelId="{B7D8A436-106C-4C65-BFFB-F7437F9E9358}" type="presParOf" srcId="{76C37517-9DFA-4205-99AE-DADEFF35838F}" destId="{473B4D39-DC01-4C8B-A110-6C992F2C33CF}" srcOrd="0" destOrd="0" presId="urn:microsoft.com/office/officeart/2005/8/layout/default"/>
    <dgm:cxn modelId="{5B04D7E9-7F82-4723-9C0D-FDC6A6CCDCAE}" type="presParOf" srcId="{76C37517-9DFA-4205-99AE-DADEFF35838F}" destId="{098DA798-58FC-4194-AF79-083C8342647B}" srcOrd="1" destOrd="0" presId="urn:microsoft.com/office/officeart/2005/8/layout/default"/>
    <dgm:cxn modelId="{1F6ED14A-F128-4304-82D9-AF51373E65FE}" type="presParOf" srcId="{76C37517-9DFA-4205-99AE-DADEFF35838F}" destId="{FEC5274F-DEDB-40A3-8CA6-A0596DBB4121}" srcOrd="2" destOrd="0" presId="urn:microsoft.com/office/officeart/2005/8/layout/default"/>
    <dgm:cxn modelId="{7CD6DA7E-A150-48F4-9E41-861A0F1FA289}" type="presParOf" srcId="{76C37517-9DFA-4205-99AE-DADEFF35838F}" destId="{927277F1-B9F3-472A-A5B6-49E989588039}" srcOrd="3" destOrd="0" presId="urn:microsoft.com/office/officeart/2005/8/layout/default"/>
    <dgm:cxn modelId="{F56F9518-6641-4DF3-B061-9F311B02853D}" type="presParOf" srcId="{76C37517-9DFA-4205-99AE-DADEFF35838F}" destId="{3A590DF1-1274-46F6-B381-708C79BBEDCD}" srcOrd="4" destOrd="0" presId="urn:microsoft.com/office/officeart/2005/8/layout/default"/>
    <dgm:cxn modelId="{895EA743-BBB7-4543-A01F-A56F49AE5D5A}" type="presParOf" srcId="{76C37517-9DFA-4205-99AE-DADEFF35838F}" destId="{F3F57026-5C27-44C0-B7D3-33DC481C9398}" srcOrd="5" destOrd="0" presId="urn:microsoft.com/office/officeart/2005/8/layout/default"/>
    <dgm:cxn modelId="{C510FD89-6FA2-4A34-B742-2380869FC272}" type="presParOf" srcId="{76C37517-9DFA-4205-99AE-DADEFF35838F}" destId="{0AD35DCA-7785-4CB9-BAB0-78DC318E56B7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D7FD41-5293-4C8A-958C-2ED77A6004FF}">
      <dsp:nvSpPr>
        <dsp:cNvPr id="0" name=""/>
        <dsp:cNvSpPr/>
      </dsp:nvSpPr>
      <dsp:spPr>
        <a:xfrm>
          <a:off x="3268995" y="-5955"/>
          <a:ext cx="6195488" cy="6195488"/>
        </a:xfrm>
        <a:prstGeom prst="circularArrow">
          <a:avLst>
            <a:gd name="adj1" fmla="val 5274"/>
            <a:gd name="adj2" fmla="val 312630"/>
            <a:gd name="adj3" fmla="val 14190053"/>
            <a:gd name="adj4" fmla="val 17149335"/>
            <a:gd name="adj5" fmla="val 5477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76F7DA-A05C-456D-9FED-BAA7D5FA686F}">
      <dsp:nvSpPr>
        <dsp:cNvPr id="0" name=""/>
        <dsp:cNvSpPr/>
      </dsp:nvSpPr>
      <dsp:spPr>
        <a:xfrm>
          <a:off x="5163649" y="1015"/>
          <a:ext cx="2406179" cy="1203089"/>
        </a:xfrm>
        <a:prstGeom prst="roundRect">
          <a:avLst/>
        </a:prstGeom>
        <a:solidFill>
          <a:srgbClr val="C65D2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>
              <a:solidFill>
                <a:schemeClr val="tx1"/>
              </a:solidFill>
            </a:rPr>
            <a:t>Загруженность учителей </a:t>
          </a:r>
        </a:p>
      </dsp:txBody>
      <dsp:txXfrm>
        <a:off x="5222379" y="59745"/>
        <a:ext cx="2288719" cy="1085629"/>
      </dsp:txXfrm>
    </dsp:sp>
    <dsp:sp modelId="{FF9A7F4E-61A7-4165-9CDE-959383E90EE6}">
      <dsp:nvSpPr>
        <dsp:cNvPr id="0" name=""/>
        <dsp:cNvSpPr/>
      </dsp:nvSpPr>
      <dsp:spPr>
        <a:xfrm>
          <a:off x="7340302" y="1257706"/>
          <a:ext cx="2406179" cy="1203089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chemeClr val="tx2">
                  <a:lumMod val="10000"/>
                </a:schemeClr>
              </a:solidFill>
            </a:rPr>
            <a:t>Некогда готовить интересные уроки  </a:t>
          </a:r>
        </a:p>
      </dsp:txBody>
      <dsp:txXfrm>
        <a:off x="7399032" y="1316436"/>
        <a:ext cx="2288719" cy="1085629"/>
      </dsp:txXfrm>
    </dsp:sp>
    <dsp:sp modelId="{4F455018-EBF4-4209-9D90-5A9A20CE0B0E}">
      <dsp:nvSpPr>
        <dsp:cNvPr id="0" name=""/>
        <dsp:cNvSpPr/>
      </dsp:nvSpPr>
      <dsp:spPr>
        <a:xfrm>
          <a:off x="7340302" y="3771089"/>
          <a:ext cx="2406179" cy="1203089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chemeClr val="tx2">
                  <a:lumMod val="10000"/>
                </a:schemeClr>
              </a:solidFill>
            </a:rPr>
            <a:t>Большое количество домашних заданий </a:t>
          </a:r>
        </a:p>
      </dsp:txBody>
      <dsp:txXfrm>
        <a:off x="7399032" y="3829819"/>
        <a:ext cx="2288719" cy="1085629"/>
      </dsp:txXfrm>
    </dsp:sp>
    <dsp:sp modelId="{B78DA06D-FD10-4DAA-80A9-3416FA1DD1C4}">
      <dsp:nvSpPr>
        <dsp:cNvPr id="0" name=""/>
        <dsp:cNvSpPr/>
      </dsp:nvSpPr>
      <dsp:spPr>
        <a:xfrm>
          <a:off x="5163649" y="5027780"/>
          <a:ext cx="2406179" cy="1203089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chemeClr val="tx2">
                  <a:lumMod val="10000"/>
                </a:schemeClr>
              </a:solidFill>
            </a:rPr>
            <a:t>Низкая  мотивация </a:t>
          </a:r>
        </a:p>
      </dsp:txBody>
      <dsp:txXfrm>
        <a:off x="5222379" y="5086510"/>
        <a:ext cx="2288719" cy="1085629"/>
      </dsp:txXfrm>
    </dsp:sp>
    <dsp:sp modelId="{A656902B-D635-442F-8465-A64FC9976F3B}">
      <dsp:nvSpPr>
        <dsp:cNvPr id="0" name=""/>
        <dsp:cNvSpPr/>
      </dsp:nvSpPr>
      <dsp:spPr>
        <a:xfrm>
          <a:off x="2986996" y="3771089"/>
          <a:ext cx="2406179" cy="1203089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chemeClr val="tx2">
                  <a:lumMod val="10000"/>
                </a:schemeClr>
              </a:solidFill>
            </a:rPr>
            <a:t>Риски снижения результатов </a:t>
          </a:r>
        </a:p>
      </dsp:txBody>
      <dsp:txXfrm>
        <a:off x="3045726" y="3829819"/>
        <a:ext cx="2288719" cy="1085629"/>
      </dsp:txXfrm>
    </dsp:sp>
    <dsp:sp modelId="{97F211FA-77BA-41DD-8E61-FA1013089D0A}">
      <dsp:nvSpPr>
        <dsp:cNvPr id="0" name=""/>
        <dsp:cNvSpPr/>
      </dsp:nvSpPr>
      <dsp:spPr>
        <a:xfrm>
          <a:off x="2986996" y="1257706"/>
          <a:ext cx="2406179" cy="1203089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rgbClr val="7A70C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chemeClr val="tx2">
                  <a:lumMod val="10000"/>
                </a:schemeClr>
              </a:solidFill>
            </a:rPr>
            <a:t>Большое количество контрольных работ и мониторингов </a:t>
          </a:r>
        </a:p>
      </dsp:txBody>
      <dsp:txXfrm>
        <a:off x="3045726" y="1316436"/>
        <a:ext cx="2288719" cy="1085629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3B4D39-DC01-4C8B-A110-6C992F2C33CF}">
      <dsp:nvSpPr>
        <dsp:cNvPr id="0" name=""/>
        <dsp:cNvSpPr/>
      </dsp:nvSpPr>
      <dsp:spPr>
        <a:xfrm>
          <a:off x="761989" y="172"/>
          <a:ext cx="2791196" cy="167471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/>
            <a:t>Приняты поправки в закон «Об образовании»  </a:t>
          </a:r>
        </a:p>
      </dsp:txBody>
      <dsp:txXfrm>
        <a:off x="761989" y="172"/>
        <a:ext cx="2791196" cy="1674718"/>
      </dsp:txXfrm>
    </dsp:sp>
    <dsp:sp modelId="{FEC5274F-DEDB-40A3-8CA6-A0596DBB4121}">
      <dsp:nvSpPr>
        <dsp:cNvPr id="0" name=""/>
        <dsp:cNvSpPr/>
      </dsp:nvSpPr>
      <dsp:spPr>
        <a:xfrm>
          <a:off x="3832305" y="172"/>
          <a:ext cx="2791196" cy="167471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/>
            <a:t>Издан приказ Минпросвещения России</a:t>
          </a:r>
        </a:p>
      </dsp:txBody>
      <dsp:txXfrm>
        <a:off x="3832305" y="172"/>
        <a:ext cx="2791196" cy="1674718"/>
      </dsp:txXfrm>
    </dsp:sp>
    <dsp:sp modelId="{3A590DF1-1274-46F6-B381-708C79BBEDCD}">
      <dsp:nvSpPr>
        <dsp:cNvPr id="0" name=""/>
        <dsp:cNvSpPr/>
      </dsp:nvSpPr>
      <dsp:spPr>
        <a:xfrm>
          <a:off x="761989" y="1954010"/>
          <a:ext cx="2791196" cy="167471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/>
            <a:t>Создана федеральная «Горячая линия»</a:t>
          </a:r>
        </a:p>
      </dsp:txBody>
      <dsp:txXfrm>
        <a:off x="761989" y="1954010"/>
        <a:ext cx="2791196" cy="1674718"/>
      </dsp:txXfrm>
    </dsp:sp>
    <dsp:sp modelId="{0AD35DCA-7785-4CB9-BAB0-78DC318E56B7}">
      <dsp:nvSpPr>
        <dsp:cNvPr id="0" name=""/>
        <dsp:cNvSpPr/>
      </dsp:nvSpPr>
      <dsp:spPr>
        <a:xfrm>
          <a:off x="3832305" y="1954010"/>
          <a:ext cx="2791196" cy="167471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/>
            <a:t>Ведется работа по формированию номенклатуры дел ОО и педагогов всех уровней образования </a:t>
          </a:r>
        </a:p>
      </dsp:txBody>
      <dsp:txXfrm>
        <a:off x="3832305" y="1954010"/>
        <a:ext cx="2791196" cy="1674718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59EDF2-E36A-4609-B608-D35949D433E3}">
      <dsp:nvSpPr>
        <dsp:cNvPr id="0" name=""/>
        <dsp:cNvSpPr/>
      </dsp:nvSpPr>
      <dsp:spPr>
        <a:xfrm>
          <a:off x="294530" y="920"/>
          <a:ext cx="3926009" cy="641127"/>
        </a:xfrm>
        <a:prstGeom prst="roundRect">
          <a:avLst>
            <a:gd name="adj" fmla="val 10000"/>
          </a:avLst>
        </a:prstGeom>
        <a:solidFill>
          <a:srgbClr val="56508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1435" tIns="34290" rIns="51435" bIns="3429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kern="1200" dirty="0"/>
            <a:t>Региональный уровень </a:t>
          </a:r>
        </a:p>
      </dsp:txBody>
      <dsp:txXfrm>
        <a:off x="313308" y="19698"/>
        <a:ext cx="3888453" cy="603571"/>
      </dsp:txXfrm>
    </dsp:sp>
    <dsp:sp modelId="{5A81519D-C365-46CF-AEC4-066DA815C1F0}">
      <dsp:nvSpPr>
        <dsp:cNvPr id="0" name=""/>
        <dsp:cNvSpPr/>
      </dsp:nvSpPr>
      <dsp:spPr>
        <a:xfrm>
          <a:off x="687131" y="642047"/>
          <a:ext cx="392600" cy="48084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80845"/>
              </a:lnTo>
              <a:lnTo>
                <a:pt x="392600" y="48084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3B1E13-0EA2-441D-915F-B83043A84146}">
      <dsp:nvSpPr>
        <dsp:cNvPr id="0" name=""/>
        <dsp:cNvSpPr/>
      </dsp:nvSpPr>
      <dsp:spPr>
        <a:xfrm>
          <a:off x="1079732" y="802329"/>
          <a:ext cx="3224533" cy="64112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Приказ о назначении ответственных за исполнение новой нормы 273 ФЗ</a:t>
          </a:r>
        </a:p>
      </dsp:txBody>
      <dsp:txXfrm>
        <a:off x="1098510" y="821107"/>
        <a:ext cx="3186977" cy="603571"/>
      </dsp:txXfrm>
    </dsp:sp>
    <dsp:sp modelId="{59368E99-E683-4EF3-8F1E-C1973971342A}">
      <dsp:nvSpPr>
        <dsp:cNvPr id="0" name=""/>
        <dsp:cNvSpPr/>
      </dsp:nvSpPr>
      <dsp:spPr>
        <a:xfrm>
          <a:off x="687131" y="642047"/>
          <a:ext cx="392600" cy="12822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82255"/>
              </a:lnTo>
              <a:lnTo>
                <a:pt x="392600" y="128225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87374BC-F057-4D05-A72B-AE74ECF607F0}">
      <dsp:nvSpPr>
        <dsp:cNvPr id="0" name=""/>
        <dsp:cNvSpPr/>
      </dsp:nvSpPr>
      <dsp:spPr>
        <a:xfrm>
          <a:off x="1079732" y="1603739"/>
          <a:ext cx="3227928" cy="64112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Инструкция о делопроизводстве </a:t>
          </a:r>
        </a:p>
      </dsp:txBody>
      <dsp:txXfrm>
        <a:off x="1098510" y="1622517"/>
        <a:ext cx="3190372" cy="603571"/>
      </dsp:txXfrm>
    </dsp:sp>
    <dsp:sp modelId="{B56AC208-F62C-4857-87F9-FDDE87D52416}">
      <dsp:nvSpPr>
        <dsp:cNvPr id="0" name=""/>
        <dsp:cNvSpPr/>
      </dsp:nvSpPr>
      <dsp:spPr>
        <a:xfrm>
          <a:off x="687131" y="642047"/>
          <a:ext cx="386876" cy="20056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05639"/>
              </a:lnTo>
              <a:lnTo>
                <a:pt x="386876" y="200563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DBC9997-4473-41AD-B7F1-0F4456542D12}">
      <dsp:nvSpPr>
        <dsp:cNvPr id="0" name=""/>
        <dsp:cNvSpPr/>
      </dsp:nvSpPr>
      <dsp:spPr>
        <a:xfrm>
          <a:off x="1074008" y="2327123"/>
          <a:ext cx="3227549" cy="64112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Положение об электронной системе образования </a:t>
          </a:r>
        </a:p>
      </dsp:txBody>
      <dsp:txXfrm>
        <a:off x="1092786" y="2345901"/>
        <a:ext cx="3189993" cy="603571"/>
      </dsp:txXfrm>
    </dsp:sp>
    <dsp:sp modelId="{DB71EB15-1920-4D61-9551-63E3B638B830}">
      <dsp:nvSpPr>
        <dsp:cNvPr id="0" name=""/>
        <dsp:cNvSpPr/>
      </dsp:nvSpPr>
      <dsp:spPr>
        <a:xfrm>
          <a:off x="687131" y="642047"/>
          <a:ext cx="392170" cy="276517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65177"/>
              </a:lnTo>
              <a:lnTo>
                <a:pt x="392170" y="276517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208649-DC46-490C-8172-8EBAEF13B24C}">
      <dsp:nvSpPr>
        <dsp:cNvPr id="0" name=""/>
        <dsp:cNvSpPr/>
      </dsp:nvSpPr>
      <dsp:spPr>
        <a:xfrm>
          <a:off x="1079301" y="3086660"/>
          <a:ext cx="3247562" cy="64112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Положение об электронном журнале </a:t>
          </a:r>
        </a:p>
      </dsp:txBody>
      <dsp:txXfrm>
        <a:off x="1098079" y="3105438"/>
        <a:ext cx="3210006" cy="603571"/>
      </dsp:txXfrm>
    </dsp:sp>
    <dsp:sp modelId="{3D8D79C4-E00D-4872-BD74-AD3507E78118}">
      <dsp:nvSpPr>
        <dsp:cNvPr id="0" name=""/>
        <dsp:cNvSpPr/>
      </dsp:nvSpPr>
      <dsp:spPr>
        <a:xfrm>
          <a:off x="687131" y="642047"/>
          <a:ext cx="435982" cy="36341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34183"/>
              </a:lnTo>
              <a:lnTo>
                <a:pt x="435982" y="363418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A4D353-353A-4284-8BE5-C30BDDBE7FB8}">
      <dsp:nvSpPr>
        <dsp:cNvPr id="0" name=""/>
        <dsp:cNvSpPr/>
      </dsp:nvSpPr>
      <dsp:spPr>
        <a:xfrm>
          <a:off x="1123113" y="3841678"/>
          <a:ext cx="3255871" cy="86910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Методика КНД за соблюдением законодательства в части снижения документационной нагрузки педагогических работников   </a:t>
          </a:r>
        </a:p>
      </dsp:txBody>
      <dsp:txXfrm>
        <a:off x="1148568" y="3867133"/>
        <a:ext cx="3204961" cy="818196"/>
      </dsp:txXfrm>
    </dsp:sp>
    <dsp:sp modelId="{9EE2802D-455C-401F-9A97-849CEAB8FF3A}">
      <dsp:nvSpPr>
        <dsp:cNvPr id="0" name=""/>
        <dsp:cNvSpPr/>
      </dsp:nvSpPr>
      <dsp:spPr>
        <a:xfrm>
          <a:off x="4541103" y="920"/>
          <a:ext cx="3771971" cy="641127"/>
        </a:xfrm>
        <a:prstGeom prst="roundRect">
          <a:avLst>
            <a:gd name="adj" fmla="val 10000"/>
          </a:avLst>
        </a:prstGeom>
        <a:solidFill>
          <a:srgbClr val="56508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1435" tIns="34290" rIns="51435" bIns="3429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kern="1200" dirty="0"/>
            <a:t>Локальный уровень </a:t>
          </a:r>
        </a:p>
      </dsp:txBody>
      <dsp:txXfrm>
        <a:off x="4559881" y="19698"/>
        <a:ext cx="3734415" cy="603571"/>
      </dsp:txXfrm>
    </dsp:sp>
    <dsp:sp modelId="{770EAD3C-7E31-47D9-9A50-BCCA5EC70D44}">
      <dsp:nvSpPr>
        <dsp:cNvPr id="0" name=""/>
        <dsp:cNvSpPr/>
      </dsp:nvSpPr>
      <dsp:spPr>
        <a:xfrm>
          <a:off x="4918300" y="642047"/>
          <a:ext cx="360445" cy="1301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01399"/>
              </a:lnTo>
              <a:lnTo>
                <a:pt x="360445" y="130139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B103AE1-3E72-437F-A7AA-D00D83822A74}">
      <dsp:nvSpPr>
        <dsp:cNvPr id="0" name=""/>
        <dsp:cNvSpPr/>
      </dsp:nvSpPr>
      <dsp:spPr>
        <a:xfrm>
          <a:off x="5278746" y="1622883"/>
          <a:ext cx="3392683" cy="64112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Инструкция о делопроизводстве </a:t>
          </a:r>
        </a:p>
      </dsp:txBody>
      <dsp:txXfrm>
        <a:off x="5297524" y="1641661"/>
        <a:ext cx="3355127" cy="603571"/>
      </dsp:txXfrm>
    </dsp:sp>
    <dsp:sp modelId="{3169F5BD-8345-4827-B1FB-731395667D02}">
      <dsp:nvSpPr>
        <dsp:cNvPr id="0" name=""/>
        <dsp:cNvSpPr/>
      </dsp:nvSpPr>
      <dsp:spPr>
        <a:xfrm>
          <a:off x="4918300" y="642047"/>
          <a:ext cx="384439" cy="20631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63110"/>
              </a:lnTo>
              <a:lnTo>
                <a:pt x="384439" y="206311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9AD454D-FE87-4A75-8195-A6710703EE07}">
      <dsp:nvSpPr>
        <dsp:cNvPr id="0" name=""/>
        <dsp:cNvSpPr/>
      </dsp:nvSpPr>
      <dsp:spPr>
        <a:xfrm>
          <a:off x="5302740" y="2384594"/>
          <a:ext cx="3404418" cy="64112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Правила</a:t>
          </a:r>
          <a:r>
            <a:rPr lang="ru-RU" sz="1400" kern="1200" baseline="0" dirty="0"/>
            <a:t> внутреннего распорядка </a:t>
          </a:r>
          <a:endParaRPr lang="ru-RU" sz="1400" kern="1200" dirty="0"/>
        </a:p>
      </dsp:txBody>
      <dsp:txXfrm>
        <a:off x="5321518" y="2403372"/>
        <a:ext cx="3366862" cy="603571"/>
      </dsp:txXfrm>
    </dsp:sp>
    <dsp:sp modelId="{C1FA0414-ECA2-4672-9403-7C013957FC83}">
      <dsp:nvSpPr>
        <dsp:cNvPr id="0" name=""/>
        <dsp:cNvSpPr/>
      </dsp:nvSpPr>
      <dsp:spPr>
        <a:xfrm>
          <a:off x="4918300" y="642047"/>
          <a:ext cx="377197" cy="3493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93549"/>
              </a:lnTo>
              <a:lnTo>
                <a:pt x="377197" y="349354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2A9C4B5-20D2-4C96-98FD-5A77CDA69B75}">
      <dsp:nvSpPr>
        <dsp:cNvPr id="0" name=""/>
        <dsp:cNvSpPr/>
      </dsp:nvSpPr>
      <dsp:spPr>
        <a:xfrm>
          <a:off x="5295497" y="3815033"/>
          <a:ext cx="3418902" cy="64112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Положение о классном руководстве </a:t>
          </a:r>
        </a:p>
      </dsp:txBody>
      <dsp:txXfrm>
        <a:off x="5314275" y="3833811"/>
        <a:ext cx="3381346" cy="603571"/>
      </dsp:txXfrm>
    </dsp:sp>
    <dsp:sp modelId="{8786EAB4-8ED5-41CA-962E-FB73AD6F8542}">
      <dsp:nvSpPr>
        <dsp:cNvPr id="0" name=""/>
        <dsp:cNvSpPr/>
      </dsp:nvSpPr>
      <dsp:spPr>
        <a:xfrm>
          <a:off x="4918300" y="642047"/>
          <a:ext cx="369965" cy="27766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76621"/>
              </a:lnTo>
              <a:lnTo>
                <a:pt x="369965" y="277662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C8899B-AB10-426B-A5B0-A94A6C4F89D0}">
      <dsp:nvSpPr>
        <dsp:cNvPr id="0" name=""/>
        <dsp:cNvSpPr/>
      </dsp:nvSpPr>
      <dsp:spPr>
        <a:xfrm>
          <a:off x="5288266" y="3098105"/>
          <a:ext cx="3409444" cy="64112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Должностные инструкции учителя и классного руководителя </a:t>
          </a:r>
        </a:p>
      </dsp:txBody>
      <dsp:txXfrm>
        <a:off x="5307044" y="3116883"/>
        <a:ext cx="3371888" cy="603571"/>
      </dsp:txXfrm>
    </dsp:sp>
    <dsp:sp modelId="{3FFDA90D-9CD7-4552-8297-4229CD89EF10}">
      <dsp:nvSpPr>
        <dsp:cNvPr id="0" name=""/>
        <dsp:cNvSpPr/>
      </dsp:nvSpPr>
      <dsp:spPr>
        <a:xfrm>
          <a:off x="4918300" y="642047"/>
          <a:ext cx="314879" cy="5856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85676"/>
              </a:lnTo>
              <a:lnTo>
                <a:pt x="314879" y="58567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CD3F91-B547-491C-AC61-425962007CC5}">
      <dsp:nvSpPr>
        <dsp:cNvPr id="0" name=""/>
        <dsp:cNvSpPr/>
      </dsp:nvSpPr>
      <dsp:spPr>
        <a:xfrm>
          <a:off x="5233180" y="907160"/>
          <a:ext cx="3434228" cy="64112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Приказ о назначении ответственных за исполнение новой нормы 273 ФЗ</a:t>
          </a:r>
        </a:p>
      </dsp:txBody>
      <dsp:txXfrm>
        <a:off x="5251958" y="925938"/>
        <a:ext cx="3396672" cy="603571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2233112-6C62-4EE3-8235-2C4B2F5341E6}">
      <dsp:nvSpPr>
        <dsp:cNvPr id="0" name=""/>
        <dsp:cNvSpPr/>
      </dsp:nvSpPr>
      <dsp:spPr>
        <a:xfrm>
          <a:off x="0" y="499450"/>
          <a:ext cx="11781183" cy="781200"/>
        </a:xfrm>
        <a:prstGeom prst="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9F0672-D1F7-4109-9B19-5ED637A52CFB}">
      <dsp:nvSpPr>
        <dsp:cNvPr id="0" name=""/>
        <dsp:cNvSpPr/>
      </dsp:nvSpPr>
      <dsp:spPr>
        <a:xfrm>
          <a:off x="589059" y="41890"/>
          <a:ext cx="8246828" cy="91512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1710" tIns="0" rIns="311710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Создать межведомственную рабочую группу </a:t>
          </a:r>
        </a:p>
      </dsp:txBody>
      <dsp:txXfrm>
        <a:off x="633731" y="86562"/>
        <a:ext cx="8157484" cy="825776"/>
      </dsp:txXfrm>
    </dsp:sp>
    <dsp:sp modelId="{75BC5E63-71EB-4384-91C6-636F6A982332}">
      <dsp:nvSpPr>
        <dsp:cNvPr id="0" name=""/>
        <dsp:cNvSpPr/>
      </dsp:nvSpPr>
      <dsp:spPr>
        <a:xfrm>
          <a:off x="0" y="1905610"/>
          <a:ext cx="11781183" cy="781200"/>
        </a:xfrm>
        <a:prstGeom prst="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7C698D-3D42-48B3-B63A-930CB3336564}">
      <dsp:nvSpPr>
        <dsp:cNvPr id="0" name=""/>
        <dsp:cNvSpPr/>
      </dsp:nvSpPr>
      <dsp:spPr>
        <a:xfrm>
          <a:off x="589059" y="1448050"/>
          <a:ext cx="8246828" cy="91512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1710" tIns="0" rIns="311710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Провести аудит мониторингов и запросов на предмет соответствия закону  </a:t>
          </a:r>
        </a:p>
      </dsp:txBody>
      <dsp:txXfrm>
        <a:off x="633731" y="1492722"/>
        <a:ext cx="8157484" cy="825776"/>
      </dsp:txXfrm>
    </dsp:sp>
    <dsp:sp modelId="{DCB386B0-0464-401D-940F-94ED16055FF5}">
      <dsp:nvSpPr>
        <dsp:cNvPr id="0" name=""/>
        <dsp:cNvSpPr/>
      </dsp:nvSpPr>
      <dsp:spPr>
        <a:xfrm>
          <a:off x="0" y="3311770"/>
          <a:ext cx="11781183" cy="781200"/>
        </a:xfrm>
        <a:prstGeom prst="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4EC2D4D-D18A-46B1-ABD4-02A540D25F51}">
      <dsp:nvSpPr>
        <dsp:cNvPr id="0" name=""/>
        <dsp:cNvSpPr/>
      </dsp:nvSpPr>
      <dsp:spPr>
        <a:xfrm>
          <a:off x="589059" y="2854210"/>
          <a:ext cx="8246828" cy="91512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1710" tIns="0" rIns="311710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Назначить ответственное лицо за осуществление контроля за исходящими письмами в школу в соответствии с новыми нормами закона  </a:t>
          </a:r>
        </a:p>
      </dsp:txBody>
      <dsp:txXfrm>
        <a:off x="633731" y="2898882"/>
        <a:ext cx="8157484" cy="825776"/>
      </dsp:txXfrm>
    </dsp:sp>
    <dsp:sp modelId="{07ABA743-8550-4E5A-BC4E-A62980FE37F4}">
      <dsp:nvSpPr>
        <dsp:cNvPr id="0" name=""/>
        <dsp:cNvSpPr/>
      </dsp:nvSpPr>
      <dsp:spPr>
        <a:xfrm>
          <a:off x="0" y="4717931"/>
          <a:ext cx="11781183" cy="781200"/>
        </a:xfrm>
        <a:prstGeom prst="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5B46C9-05EB-477C-8ED9-30BDBD9F884D}">
      <dsp:nvSpPr>
        <dsp:cNvPr id="0" name=""/>
        <dsp:cNvSpPr/>
      </dsp:nvSpPr>
      <dsp:spPr>
        <a:xfrm>
          <a:off x="589059" y="4260371"/>
          <a:ext cx="8246828" cy="91512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1710" tIns="0" rIns="311710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Сформировать единый межрегиональный перечень документов и показателей, требуемых от школы </a:t>
          </a:r>
        </a:p>
      </dsp:txBody>
      <dsp:txXfrm>
        <a:off x="633731" y="4305043"/>
        <a:ext cx="8157484" cy="825776"/>
      </dsp:txXfrm>
    </dsp:sp>
    <dsp:sp modelId="{60A15A4C-140B-4B10-B390-100FF1F82BE9}">
      <dsp:nvSpPr>
        <dsp:cNvPr id="0" name=""/>
        <dsp:cNvSpPr/>
      </dsp:nvSpPr>
      <dsp:spPr>
        <a:xfrm>
          <a:off x="0" y="6124091"/>
          <a:ext cx="11781183" cy="781200"/>
        </a:xfrm>
        <a:prstGeom prst="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8B3E73-E9FD-4910-8CEC-90E549DD02E6}">
      <dsp:nvSpPr>
        <dsp:cNvPr id="0" name=""/>
        <dsp:cNvSpPr/>
      </dsp:nvSpPr>
      <dsp:spPr>
        <a:xfrm>
          <a:off x="589059" y="5666531"/>
          <a:ext cx="8246828" cy="91512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1710" tIns="0" rIns="311710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Доработать федеральные и региональные ИС с учетом задач автоматизации загрузки и выгрузки информации  </a:t>
          </a:r>
        </a:p>
      </dsp:txBody>
      <dsp:txXfrm>
        <a:off x="633731" y="5711203"/>
        <a:ext cx="8157484" cy="825776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EA30F4-581D-4A22-BA47-8F4BFE825524}">
      <dsp:nvSpPr>
        <dsp:cNvPr id="0" name=""/>
        <dsp:cNvSpPr/>
      </dsp:nvSpPr>
      <dsp:spPr>
        <a:xfrm>
          <a:off x="1230" y="240751"/>
          <a:ext cx="4798621" cy="2879173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/>
            <a:t>О наделении полномочиями ФОИВ утверждать  перечень, формы и структуры  документов педагога и образовательной организации  </a:t>
          </a:r>
        </a:p>
      </dsp:txBody>
      <dsp:txXfrm>
        <a:off x="1230" y="240751"/>
        <a:ext cx="4798621" cy="2879173"/>
      </dsp:txXfrm>
    </dsp:sp>
    <dsp:sp modelId="{287E0992-1B9A-4C5A-A50A-A601B73F9E4E}">
      <dsp:nvSpPr>
        <dsp:cNvPr id="0" name=""/>
        <dsp:cNvSpPr/>
      </dsp:nvSpPr>
      <dsp:spPr>
        <a:xfrm>
          <a:off x="5280945" y="273401"/>
          <a:ext cx="4798621" cy="2879173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kern="1200" dirty="0"/>
            <a:t>Об основаниях для запросов </a:t>
          </a:r>
        </a:p>
      </dsp:txBody>
      <dsp:txXfrm>
        <a:off x="5280945" y="273401"/>
        <a:ext cx="4798621" cy="2879173"/>
      </dsp:txXfrm>
    </dsp:sp>
    <dsp:sp modelId="{ECC5607D-4A57-46F2-B914-2125A02CC492}">
      <dsp:nvSpPr>
        <dsp:cNvPr id="0" name=""/>
        <dsp:cNvSpPr/>
      </dsp:nvSpPr>
      <dsp:spPr>
        <a:xfrm>
          <a:off x="1230" y="3599786"/>
          <a:ext cx="4798621" cy="2879173"/>
        </a:xfrm>
        <a:prstGeom prst="rect">
          <a:avLst/>
        </a:prstGeom>
        <a:solidFill>
          <a:srgbClr val="FFC000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dirty="0"/>
            <a:t>О корректировке определения понятия «Образовательная программа»</a:t>
          </a:r>
        </a:p>
      </dsp:txBody>
      <dsp:txXfrm>
        <a:off x="1230" y="3599786"/>
        <a:ext cx="4798621" cy="2879173"/>
      </dsp:txXfrm>
    </dsp:sp>
    <dsp:sp modelId="{64ABEC80-F1A3-4CE6-AE5B-D8214C293F76}">
      <dsp:nvSpPr>
        <dsp:cNvPr id="0" name=""/>
        <dsp:cNvSpPr/>
      </dsp:nvSpPr>
      <dsp:spPr>
        <a:xfrm>
          <a:off x="5279714" y="3599786"/>
          <a:ext cx="4798621" cy="2879173"/>
        </a:xfrm>
        <a:prstGeom prst="rect">
          <a:avLst/>
        </a:prstGeom>
        <a:solidFill>
          <a:srgbClr val="FFC000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dirty="0"/>
            <a:t>Об определении понятия «Педагогическая деятельность»</a:t>
          </a:r>
        </a:p>
      </dsp:txBody>
      <dsp:txXfrm>
        <a:off x="5279714" y="3599786"/>
        <a:ext cx="4798621" cy="287917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8F0055-463D-40E4-B740-88A22B57BD68}">
      <dsp:nvSpPr>
        <dsp:cNvPr id="0" name=""/>
        <dsp:cNvSpPr/>
      </dsp:nvSpPr>
      <dsp:spPr>
        <a:xfrm>
          <a:off x="0" y="332722"/>
          <a:ext cx="1711242" cy="102674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Минпросвещения </a:t>
          </a:r>
        </a:p>
      </dsp:txBody>
      <dsp:txXfrm>
        <a:off x="0" y="332722"/>
        <a:ext cx="1711242" cy="1026745"/>
      </dsp:txXfrm>
    </dsp:sp>
    <dsp:sp modelId="{C461E2EB-1091-4432-9124-FFE2CC84EFFC}">
      <dsp:nvSpPr>
        <dsp:cNvPr id="0" name=""/>
        <dsp:cNvSpPr/>
      </dsp:nvSpPr>
      <dsp:spPr>
        <a:xfrm>
          <a:off x="1882367" y="332722"/>
          <a:ext cx="1711242" cy="102674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Роспотребнадзор </a:t>
          </a:r>
        </a:p>
      </dsp:txBody>
      <dsp:txXfrm>
        <a:off x="1882367" y="332722"/>
        <a:ext cx="1711242" cy="1026745"/>
      </dsp:txXfrm>
    </dsp:sp>
    <dsp:sp modelId="{382114AE-60D0-4A4F-B6F6-9B85973A8774}">
      <dsp:nvSpPr>
        <dsp:cNvPr id="0" name=""/>
        <dsp:cNvSpPr/>
      </dsp:nvSpPr>
      <dsp:spPr>
        <a:xfrm>
          <a:off x="3764734" y="332722"/>
          <a:ext cx="1711242" cy="102674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Росздравнадзор</a:t>
          </a:r>
          <a:r>
            <a:rPr lang="ru-RU" sz="1400" b="1" kern="1200" dirty="0">
              <a:solidFill>
                <a:schemeClr val="bg1"/>
              </a:solidFill>
            </a:rPr>
            <a:t> </a:t>
          </a:r>
        </a:p>
      </dsp:txBody>
      <dsp:txXfrm>
        <a:off x="3764734" y="332722"/>
        <a:ext cx="1711242" cy="1026745"/>
      </dsp:txXfrm>
    </dsp:sp>
    <dsp:sp modelId="{800B0D4C-01CE-496E-9B29-5D6A394B0567}">
      <dsp:nvSpPr>
        <dsp:cNvPr id="0" name=""/>
        <dsp:cNvSpPr/>
      </dsp:nvSpPr>
      <dsp:spPr>
        <a:xfrm>
          <a:off x="0" y="1530592"/>
          <a:ext cx="1711242" cy="102674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МЧС</a:t>
          </a:r>
        </a:p>
      </dsp:txBody>
      <dsp:txXfrm>
        <a:off x="0" y="1530592"/>
        <a:ext cx="1711242" cy="1026745"/>
      </dsp:txXfrm>
    </dsp:sp>
    <dsp:sp modelId="{066996AF-BEC6-4EFD-B29F-8B9B79FE82E7}">
      <dsp:nvSpPr>
        <dsp:cNvPr id="0" name=""/>
        <dsp:cNvSpPr/>
      </dsp:nvSpPr>
      <dsp:spPr>
        <a:xfrm>
          <a:off x="1882367" y="1530592"/>
          <a:ext cx="1711242" cy="102674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МВД</a:t>
          </a:r>
        </a:p>
      </dsp:txBody>
      <dsp:txXfrm>
        <a:off x="1882367" y="1530592"/>
        <a:ext cx="1711242" cy="1026745"/>
      </dsp:txXfrm>
    </dsp:sp>
    <dsp:sp modelId="{5B1F2A19-3198-46C5-8152-E080C2D3E6EE}">
      <dsp:nvSpPr>
        <dsp:cNvPr id="0" name=""/>
        <dsp:cNvSpPr/>
      </dsp:nvSpPr>
      <dsp:spPr>
        <a:xfrm>
          <a:off x="3764734" y="1530592"/>
          <a:ext cx="1711242" cy="102674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Минобрнауки</a:t>
          </a:r>
        </a:p>
      </dsp:txBody>
      <dsp:txXfrm>
        <a:off x="3764734" y="1530592"/>
        <a:ext cx="1711242" cy="1026745"/>
      </dsp:txXfrm>
    </dsp:sp>
    <dsp:sp modelId="{A4E3B9CF-90B1-4614-A586-5F4285669115}">
      <dsp:nvSpPr>
        <dsp:cNvPr id="0" name=""/>
        <dsp:cNvSpPr/>
      </dsp:nvSpPr>
      <dsp:spPr>
        <a:xfrm>
          <a:off x="0" y="2728462"/>
          <a:ext cx="1711242" cy="102674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Минобрнауки</a:t>
          </a:r>
          <a:r>
            <a:rPr lang="ru-RU" sz="1400" b="1" kern="1200" baseline="0" dirty="0">
              <a:solidFill>
                <a:schemeClr val="tx1"/>
              </a:solidFill>
            </a:rPr>
            <a:t> </a:t>
          </a:r>
          <a:endParaRPr lang="ru-RU" sz="1400" b="1" kern="1200" dirty="0">
            <a:solidFill>
              <a:schemeClr val="tx1"/>
            </a:solidFill>
          </a:endParaRPr>
        </a:p>
      </dsp:txBody>
      <dsp:txXfrm>
        <a:off x="0" y="2728462"/>
        <a:ext cx="1711242" cy="1026745"/>
      </dsp:txXfrm>
    </dsp:sp>
    <dsp:sp modelId="{B67FF79F-D78B-433F-BB5F-693FAB067492}">
      <dsp:nvSpPr>
        <dsp:cNvPr id="0" name=""/>
        <dsp:cNvSpPr/>
      </dsp:nvSpPr>
      <dsp:spPr>
        <a:xfrm>
          <a:off x="1882367" y="2745814"/>
          <a:ext cx="1711242" cy="102674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Госдума </a:t>
          </a:r>
        </a:p>
      </dsp:txBody>
      <dsp:txXfrm>
        <a:off x="1882367" y="2745814"/>
        <a:ext cx="1711242" cy="1026745"/>
      </dsp:txXfrm>
    </dsp:sp>
    <dsp:sp modelId="{5399572E-D72C-4373-90F7-2A25A1A0739E}">
      <dsp:nvSpPr>
        <dsp:cNvPr id="0" name=""/>
        <dsp:cNvSpPr/>
      </dsp:nvSpPr>
      <dsp:spPr>
        <a:xfrm>
          <a:off x="3764734" y="2728462"/>
          <a:ext cx="1711242" cy="102674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Банки</a:t>
          </a:r>
        </a:p>
      </dsp:txBody>
      <dsp:txXfrm>
        <a:off x="3764734" y="2728462"/>
        <a:ext cx="1711242" cy="102674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2EE444-6910-4ABB-8299-E5B26AEAB7E2}">
      <dsp:nvSpPr>
        <dsp:cNvPr id="0" name=""/>
        <dsp:cNvSpPr/>
      </dsp:nvSpPr>
      <dsp:spPr>
        <a:xfrm>
          <a:off x="1604" y="520631"/>
          <a:ext cx="3219275" cy="1287710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10795" rIns="0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Учитель, воспитатель </a:t>
          </a:r>
        </a:p>
      </dsp:txBody>
      <dsp:txXfrm>
        <a:off x="645459" y="520631"/>
        <a:ext cx="1931565" cy="1287710"/>
      </dsp:txXfrm>
    </dsp:sp>
    <dsp:sp modelId="{5CC7C8CF-9FB5-4512-BCB1-1651EC5B82F9}">
      <dsp:nvSpPr>
        <dsp:cNvPr id="0" name=""/>
        <dsp:cNvSpPr/>
      </dsp:nvSpPr>
      <dsp:spPr>
        <a:xfrm>
          <a:off x="2802374" y="630087"/>
          <a:ext cx="2671998" cy="1068799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13970" rIns="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/>
            <a:t>Более 50 документов </a:t>
          </a:r>
        </a:p>
      </dsp:txBody>
      <dsp:txXfrm>
        <a:off x="3336774" y="630087"/>
        <a:ext cx="1603199" cy="1068799"/>
      </dsp:txXfrm>
    </dsp:sp>
    <dsp:sp modelId="{35908F70-0B31-4F04-840E-75F6CF283F59}">
      <dsp:nvSpPr>
        <dsp:cNvPr id="0" name=""/>
        <dsp:cNvSpPr/>
      </dsp:nvSpPr>
      <dsp:spPr>
        <a:xfrm>
          <a:off x="1604" y="1988621"/>
          <a:ext cx="3219275" cy="1287710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10795" rIns="0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Образовательные</a:t>
          </a:r>
          <a:r>
            <a:rPr lang="ru-RU" sz="1700" kern="1200" baseline="0" dirty="0"/>
            <a:t> организации </a:t>
          </a:r>
          <a:endParaRPr lang="ru-RU" sz="1700" kern="1200" dirty="0"/>
        </a:p>
      </dsp:txBody>
      <dsp:txXfrm>
        <a:off x="645459" y="1988621"/>
        <a:ext cx="1931565" cy="1287710"/>
      </dsp:txXfrm>
    </dsp:sp>
    <dsp:sp modelId="{F3D38F91-FD15-45E8-BB06-B0B1ED6951A1}">
      <dsp:nvSpPr>
        <dsp:cNvPr id="0" name=""/>
        <dsp:cNvSpPr/>
      </dsp:nvSpPr>
      <dsp:spPr>
        <a:xfrm>
          <a:off x="2802374" y="2098076"/>
          <a:ext cx="2671998" cy="1068799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13970" rIns="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/>
            <a:t>Более 250 писем в месяц </a:t>
          </a:r>
        </a:p>
      </dsp:txBody>
      <dsp:txXfrm>
        <a:off x="3336774" y="2098076"/>
        <a:ext cx="1603199" cy="1068799"/>
      </dsp:txXfrm>
    </dsp:sp>
    <dsp:sp modelId="{0BF4964F-FDBA-43B6-8059-0B576EC90ECE}">
      <dsp:nvSpPr>
        <dsp:cNvPr id="0" name=""/>
        <dsp:cNvSpPr/>
      </dsp:nvSpPr>
      <dsp:spPr>
        <a:xfrm>
          <a:off x="1604" y="3456611"/>
          <a:ext cx="3219275" cy="1287710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10795" rIns="0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РОИВ</a:t>
          </a:r>
        </a:p>
      </dsp:txBody>
      <dsp:txXfrm>
        <a:off x="645459" y="3456611"/>
        <a:ext cx="1931565" cy="1287710"/>
      </dsp:txXfrm>
    </dsp:sp>
    <dsp:sp modelId="{15DC17A0-52AF-483C-947B-3CFC09969B4F}">
      <dsp:nvSpPr>
        <dsp:cNvPr id="0" name=""/>
        <dsp:cNvSpPr/>
      </dsp:nvSpPr>
      <dsp:spPr>
        <a:xfrm>
          <a:off x="2802374" y="3566066"/>
          <a:ext cx="2671998" cy="1068799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13970" rIns="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/>
            <a:t>750 – 3500 писем в месяц </a:t>
          </a:r>
        </a:p>
      </dsp:txBody>
      <dsp:txXfrm>
        <a:off x="3336774" y="3566066"/>
        <a:ext cx="1603199" cy="106879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8F0055-463D-40E4-B740-88A22B57BD68}">
      <dsp:nvSpPr>
        <dsp:cNvPr id="0" name=""/>
        <dsp:cNvSpPr/>
      </dsp:nvSpPr>
      <dsp:spPr>
        <a:xfrm>
          <a:off x="480713" y="1029"/>
          <a:ext cx="1702527" cy="102151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 </a:t>
          </a:r>
          <a:r>
            <a:rPr lang="ru-RU" sz="1400" b="1" kern="1200" dirty="0">
              <a:solidFill>
                <a:schemeClr val="tx1"/>
              </a:solidFill>
            </a:rPr>
            <a:t>Министерство (управление) образования </a:t>
          </a:r>
        </a:p>
      </dsp:txBody>
      <dsp:txXfrm>
        <a:off x="480713" y="1029"/>
        <a:ext cx="1702527" cy="1021516"/>
      </dsp:txXfrm>
    </dsp:sp>
    <dsp:sp modelId="{C461E2EB-1091-4432-9124-FFE2CC84EFFC}">
      <dsp:nvSpPr>
        <dsp:cNvPr id="0" name=""/>
        <dsp:cNvSpPr/>
      </dsp:nvSpPr>
      <dsp:spPr>
        <a:xfrm>
          <a:off x="2353493" y="1029"/>
          <a:ext cx="1702527" cy="102151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 </a:t>
          </a:r>
          <a:r>
            <a:rPr lang="ru-RU" sz="1400" b="1" kern="1200" dirty="0">
              <a:solidFill>
                <a:schemeClr val="tx1"/>
              </a:solidFill>
            </a:rPr>
            <a:t>Районные отделы образования </a:t>
          </a:r>
        </a:p>
      </dsp:txBody>
      <dsp:txXfrm>
        <a:off x="2353493" y="1029"/>
        <a:ext cx="1702527" cy="1021516"/>
      </dsp:txXfrm>
    </dsp:sp>
    <dsp:sp modelId="{382114AE-60D0-4A4F-B6F6-9B85973A8774}">
      <dsp:nvSpPr>
        <dsp:cNvPr id="0" name=""/>
        <dsp:cNvSpPr/>
      </dsp:nvSpPr>
      <dsp:spPr>
        <a:xfrm>
          <a:off x="4226273" y="1029"/>
          <a:ext cx="1702527" cy="102151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ИРО, ИПК</a:t>
          </a:r>
        </a:p>
      </dsp:txBody>
      <dsp:txXfrm>
        <a:off x="4226273" y="1029"/>
        <a:ext cx="1702527" cy="1021516"/>
      </dsp:txXfrm>
    </dsp:sp>
    <dsp:sp modelId="{800B0D4C-01CE-496E-9B29-5D6A394B0567}">
      <dsp:nvSpPr>
        <dsp:cNvPr id="0" name=""/>
        <dsp:cNvSpPr/>
      </dsp:nvSpPr>
      <dsp:spPr>
        <a:xfrm>
          <a:off x="480713" y="1192798"/>
          <a:ext cx="1702527" cy="102151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КДН</a:t>
          </a:r>
        </a:p>
      </dsp:txBody>
      <dsp:txXfrm>
        <a:off x="480713" y="1192798"/>
        <a:ext cx="1702527" cy="1021516"/>
      </dsp:txXfrm>
    </dsp:sp>
    <dsp:sp modelId="{066996AF-BEC6-4EFD-B29F-8B9B79FE82E7}">
      <dsp:nvSpPr>
        <dsp:cNvPr id="0" name=""/>
        <dsp:cNvSpPr/>
      </dsp:nvSpPr>
      <dsp:spPr>
        <a:xfrm>
          <a:off x="2353493" y="1192798"/>
          <a:ext cx="1702527" cy="102151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Прокуратура  </a:t>
          </a:r>
        </a:p>
      </dsp:txBody>
      <dsp:txXfrm>
        <a:off x="2353493" y="1192798"/>
        <a:ext cx="1702527" cy="1021516"/>
      </dsp:txXfrm>
    </dsp:sp>
    <dsp:sp modelId="{5B1F2A19-3198-46C5-8152-E080C2D3E6EE}">
      <dsp:nvSpPr>
        <dsp:cNvPr id="0" name=""/>
        <dsp:cNvSpPr/>
      </dsp:nvSpPr>
      <dsp:spPr>
        <a:xfrm>
          <a:off x="4226273" y="1192798"/>
          <a:ext cx="1702527" cy="102151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АНО </a:t>
          </a:r>
        </a:p>
      </dsp:txBody>
      <dsp:txXfrm>
        <a:off x="4226273" y="1192798"/>
        <a:ext cx="1702527" cy="1021516"/>
      </dsp:txXfrm>
    </dsp:sp>
    <dsp:sp modelId="{A4E3B9CF-90B1-4614-A586-5F4285669115}">
      <dsp:nvSpPr>
        <dsp:cNvPr id="0" name=""/>
        <dsp:cNvSpPr/>
      </dsp:nvSpPr>
      <dsp:spPr>
        <a:xfrm>
          <a:off x="462547" y="2384864"/>
          <a:ext cx="1702527" cy="102151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Министерство здравоохранения </a:t>
          </a:r>
        </a:p>
      </dsp:txBody>
      <dsp:txXfrm>
        <a:off x="462547" y="2384864"/>
        <a:ext cx="1702527" cy="1021516"/>
      </dsp:txXfrm>
    </dsp:sp>
    <dsp:sp modelId="{B67FF79F-D78B-433F-BB5F-693FAB067492}">
      <dsp:nvSpPr>
        <dsp:cNvPr id="0" name=""/>
        <dsp:cNvSpPr/>
      </dsp:nvSpPr>
      <dsp:spPr>
        <a:xfrm>
          <a:off x="2353493" y="2384567"/>
          <a:ext cx="1702527" cy="102151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Уполномоченный по правам ребенка региона </a:t>
          </a:r>
        </a:p>
      </dsp:txBody>
      <dsp:txXfrm>
        <a:off x="2353493" y="2384567"/>
        <a:ext cx="1702527" cy="1021516"/>
      </dsp:txXfrm>
    </dsp:sp>
    <dsp:sp modelId="{5399572E-D72C-4373-90F7-2A25A1A0739E}">
      <dsp:nvSpPr>
        <dsp:cNvPr id="0" name=""/>
        <dsp:cNvSpPr/>
      </dsp:nvSpPr>
      <dsp:spPr>
        <a:xfrm>
          <a:off x="4226273" y="2384567"/>
          <a:ext cx="1702527" cy="102151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Региональные образовательные и иные центры </a:t>
          </a:r>
        </a:p>
      </dsp:txBody>
      <dsp:txXfrm>
        <a:off x="4226273" y="2384567"/>
        <a:ext cx="1702527" cy="102151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B3F5B3-FB12-4ADC-9552-B9F6404F78D4}">
      <dsp:nvSpPr>
        <dsp:cNvPr id="0" name=""/>
        <dsp:cNvSpPr/>
      </dsp:nvSpPr>
      <dsp:spPr>
        <a:xfrm>
          <a:off x="1555" y="0"/>
          <a:ext cx="4044056" cy="496934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830" tIns="163830" rIns="163830" bIns="163830" numCol="1" spcCol="1270" anchor="ctr" anchorCtr="0">
          <a:noAutofit/>
        </a:bodyPr>
        <a:lstStyle/>
        <a:p>
          <a:pPr lvl="0" algn="ctr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300" kern="1200" dirty="0"/>
            <a:t>Федеральный уровень </a:t>
          </a:r>
        </a:p>
      </dsp:txBody>
      <dsp:txXfrm>
        <a:off x="1555" y="0"/>
        <a:ext cx="4044056" cy="1490803"/>
      </dsp:txXfrm>
    </dsp:sp>
    <dsp:sp modelId="{50ABF2AD-B33F-449A-A52C-6E778A7C7A68}">
      <dsp:nvSpPr>
        <dsp:cNvPr id="0" name=""/>
        <dsp:cNvSpPr/>
      </dsp:nvSpPr>
      <dsp:spPr>
        <a:xfrm>
          <a:off x="405961" y="1492259"/>
          <a:ext cx="3235245" cy="149832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040" tIns="49530" rIns="66040" bIns="4953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600" b="1" kern="1200" dirty="0">
              <a:solidFill>
                <a:schemeClr val="tx1"/>
              </a:solidFill>
            </a:rPr>
            <a:t>Более 40 информационных систем</a:t>
          </a:r>
        </a:p>
      </dsp:txBody>
      <dsp:txXfrm>
        <a:off x="449845" y="1536143"/>
        <a:ext cx="3147477" cy="1410557"/>
      </dsp:txXfrm>
    </dsp:sp>
    <dsp:sp modelId="{32FD1BB4-6973-4F76-A8F9-4114413FC20B}">
      <dsp:nvSpPr>
        <dsp:cNvPr id="0" name=""/>
        <dsp:cNvSpPr/>
      </dsp:nvSpPr>
      <dsp:spPr>
        <a:xfrm>
          <a:off x="405961" y="3221095"/>
          <a:ext cx="3235245" cy="1498325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1280" tIns="60960" rIns="81280" bIns="6096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b="1" kern="1200" dirty="0">
              <a:solidFill>
                <a:schemeClr val="tx1"/>
              </a:solidFill>
            </a:rPr>
            <a:t>Запросы </a:t>
          </a:r>
        </a:p>
      </dsp:txBody>
      <dsp:txXfrm>
        <a:off x="449845" y="3264979"/>
        <a:ext cx="3147477" cy="1410557"/>
      </dsp:txXfrm>
    </dsp:sp>
    <dsp:sp modelId="{D7D7E2EB-1607-4954-9C84-FC9844DD7A83}">
      <dsp:nvSpPr>
        <dsp:cNvPr id="0" name=""/>
        <dsp:cNvSpPr/>
      </dsp:nvSpPr>
      <dsp:spPr>
        <a:xfrm>
          <a:off x="4348916" y="0"/>
          <a:ext cx="4044056" cy="496934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830" tIns="163830" rIns="163830" bIns="163830" numCol="1" spcCol="1270" anchor="ctr" anchorCtr="0">
          <a:noAutofit/>
        </a:bodyPr>
        <a:lstStyle/>
        <a:p>
          <a:pPr lvl="0" algn="ctr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300" kern="1200" dirty="0"/>
            <a:t>Региональный уровень </a:t>
          </a:r>
        </a:p>
      </dsp:txBody>
      <dsp:txXfrm>
        <a:off x="4348916" y="0"/>
        <a:ext cx="4044056" cy="1490803"/>
      </dsp:txXfrm>
    </dsp:sp>
    <dsp:sp modelId="{A5794835-495D-4801-B5DD-51E9FC712920}">
      <dsp:nvSpPr>
        <dsp:cNvPr id="0" name=""/>
        <dsp:cNvSpPr/>
      </dsp:nvSpPr>
      <dsp:spPr>
        <a:xfrm>
          <a:off x="4753321" y="1490803"/>
          <a:ext cx="3235245" cy="3230073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1" kern="1200" dirty="0">
            <a:solidFill>
              <a:schemeClr val="bg1"/>
            </a:solidFill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1" kern="1200" dirty="0">
            <a:solidFill>
              <a:schemeClr val="bg1"/>
            </a:solidFill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>
              <a:solidFill>
                <a:schemeClr val="tx1"/>
              </a:solidFill>
            </a:rPr>
            <a:t>Запросы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b="1" kern="1200" dirty="0">
            <a:solidFill>
              <a:schemeClr val="bg1"/>
            </a:solidFill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>
              <a:solidFill>
                <a:schemeClr val="tx1"/>
              </a:solidFill>
            </a:rPr>
            <a:t>Региональные ИС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1" kern="1200" dirty="0">
            <a:solidFill>
              <a:schemeClr val="bg1"/>
            </a:solidFill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>
              <a:solidFill>
                <a:schemeClr val="bg1"/>
              </a:solidFill>
            </a:rPr>
            <a:t> </a:t>
          </a:r>
        </a:p>
      </dsp:txBody>
      <dsp:txXfrm>
        <a:off x="4847927" y="1585409"/>
        <a:ext cx="3046033" cy="3040861"/>
      </dsp:txXfrm>
    </dsp:sp>
    <dsp:sp modelId="{4EA7DD2E-6DF0-4829-810D-25011906D1C2}">
      <dsp:nvSpPr>
        <dsp:cNvPr id="0" name=""/>
        <dsp:cNvSpPr/>
      </dsp:nvSpPr>
      <dsp:spPr>
        <a:xfrm>
          <a:off x="8696277" y="0"/>
          <a:ext cx="4044056" cy="496934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830" tIns="163830" rIns="163830" bIns="163830" numCol="1" spcCol="1270" anchor="ctr" anchorCtr="0">
          <a:noAutofit/>
        </a:bodyPr>
        <a:lstStyle/>
        <a:p>
          <a:pPr lvl="0" algn="ctr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300" kern="1200" dirty="0"/>
            <a:t>Локальный  уровень </a:t>
          </a:r>
        </a:p>
      </dsp:txBody>
      <dsp:txXfrm>
        <a:off x="8696277" y="0"/>
        <a:ext cx="4044056" cy="1490803"/>
      </dsp:txXfrm>
    </dsp:sp>
    <dsp:sp modelId="{7C4C355C-BC27-4CB7-A7C2-0BCF2405CFBB}">
      <dsp:nvSpPr>
        <dsp:cNvPr id="0" name=""/>
        <dsp:cNvSpPr/>
      </dsp:nvSpPr>
      <dsp:spPr>
        <a:xfrm>
          <a:off x="9100682" y="1492259"/>
          <a:ext cx="3235245" cy="1498325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>
            <a:solidFill>
              <a:schemeClr val="bg1"/>
            </a:solidFill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>
              <a:solidFill>
                <a:schemeClr val="tx1"/>
              </a:solidFill>
            </a:rPr>
            <a:t>АУП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>
              <a:solidFill>
                <a:schemeClr val="tx1"/>
              </a:solidFill>
            </a:rPr>
            <a:t>Не регламентированы требования к отчетности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>
            <a:solidFill>
              <a:schemeClr val="bg1"/>
            </a:solidFill>
          </a:endParaRPr>
        </a:p>
      </dsp:txBody>
      <dsp:txXfrm>
        <a:off x="9144566" y="1536143"/>
        <a:ext cx="3147477" cy="1410557"/>
      </dsp:txXfrm>
    </dsp:sp>
    <dsp:sp modelId="{65197ABA-D384-40A9-8875-09BFEADA7321}">
      <dsp:nvSpPr>
        <dsp:cNvPr id="0" name=""/>
        <dsp:cNvSpPr/>
      </dsp:nvSpPr>
      <dsp:spPr>
        <a:xfrm>
          <a:off x="9100682" y="3221095"/>
          <a:ext cx="3235245" cy="1498325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chemeClr val="tx1"/>
              </a:solidFill>
            </a:rPr>
            <a:t>ПЕДАГОГИ 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chemeClr val="tx1"/>
              </a:solidFill>
            </a:rPr>
            <a:t>Не регламентированы требования к отчетности </a:t>
          </a:r>
        </a:p>
      </dsp:txBody>
      <dsp:txXfrm>
        <a:off x="9144566" y="3264979"/>
        <a:ext cx="3147477" cy="141055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9B4135-B072-4429-9512-597977263A94}">
      <dsp:nvSpPr>
        <dsp:cNvPr id="0" name=""/>
        <dsp:cNvSpPr/>
      </dsp:nvSpPr>
      <dsp:spPr>
        <a:xfrm>
          <a:off x="0" y="0"/>
          <a:ext cx="10041138" cy="970945"/>
        </a:xfrm>
        <a:prstGeom prst="roundRect">
          <a:avLst>
            <a:gd name="adj" fmla="val 10000"/>
          </a:avLst>
        </a:prstGeom>
        <a:solidFill>
          <a:srgbClr val="565087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kern="1200" dirty="0"/>
            <a:t>Отсутствие стратегического понимания о перечне необходимой от системы образования информации </a:t>
          </a:r>
        </a:p>
      </dsp:txBody>
      <dsp:txXfrm>
        <a:off x="28438" y="28438"/>
        <a:ext cx="8879811" cy="914069"/>
      </dsp:txXfrm>
    </dsp:sp>
    <dsp:sp modelId="{DAE374EC-B7CF-4A71-920B-6BE8A6A3CD5C}">
      <dsp:nvSpPr>
        <dsp:cNvPr id="0" name=""/>
        <dsp:cNvSpPr/>
      </dsp:nvSpPr>
      <dsp:spPr>
        <a:xfrm>
          <a:off x="749825" y="1105799"/>
          <a:ext cx="10041138" cy="970945"/>
        </a:xfrm>
        <a:prstGeom prst="roundRect">
          <a:avLst>
            <a:gd name="adj" fmla="val 10000"/>
          </a:avLst>
        </a:prstGeom>
        <a:solidFill>
          <a:srgbClr val="CDCDEB"/>
        </a:solidFill>
        <a:ln w="12700" cap="flat" cmpd="sng" algn="ctr">
          <a:solidFill>
            <a:srgbClr val="8A8AD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kern="1200" dirty="0">
              <a:solidFill>
                <a:schemeClr val="tx1"/>
              </a:solidFill>
            </a:rPr>
            <a:t>Запросы и мониторинги </a:t>
          </a:r>
        </a:p>
      </dsp:txBody>
      <dsp:txXfrm>
        <a:off x="778263" y="1134237"/>
        <a:ext cx="8603322" cy="914069"/>
      </dsp:txXfrm>
    </dsp:sp>
    <dsp:sp modelId="{362FF085-550C-4D60-845B-D819E40F8046}">
      <dsp:nvSpPr>
        <dsp:cNvPr id="0" name=""/>
        <dsp:cNvSpPr/>
      </dsp:nvSpPr>
      <dsp:spPr>
        <a:xfrm>
          <a:off x="1499650" y="2211598"/>
          <a:ext cx="10041138" cy="970945"/>
        </a:xfrm>
        <a:prstGeom prst="roundRect">
          <a:avLst>
            <a:gd name="adj" fmla="val 10000"/>
          </a:avLst>
        </a:prstGeom>
        <a:solidFill>
          <a:srgbClr val="CDCDEB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kern="1200" dirty="0">
              <a:solidFill>
                <a:schemeClr val="tx1"/>
              </a:solidFill>
            </a:rPr>
            <a:t>Отсутствие управленческой логистики и четких рамок документации педагогических работников и ОО </a:t>
          </a:r>
        </a:p>
      </dsp:txBody>
      <dsp:txXfrm>
        <a:off x="1528088" y="2240036"/>
        <a:ext cx="8603322" cy="914069"/>
      </dsp:txXfrm>
    </dsp:sp>
    <dsp:sp modelId="{7990784E-90CC-44A4-B04D-3ABE1184051E}">
      <dsp:nvSpPr>
        <dsp:cNvPr id="0" name=""/>
        <dsp:cNvSpPr/>
      </dsp:nvSpPr>
      <dsp:spPr>
        <a:xfrm>
          <a:off x="2249475" y="3317397"/>
          <a:ext cx="10041138" cy="970945"/>
        </a:xfrm>
        <a:prstGeom prst="roundRect">
          <a:avLst>
            <a:gd name="adj" fmla="val 10000"/>
          </a:avLst>
        </a:prstGeom>
        <a:solidFill>
          <a:srgbClr val="CDCDEB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kern="1200" dirty="0">
              <a:solidFill>
                <a:schemeClr val="tx1"/>
              </a:solidFill>
            </a:rPr>
            <a:t>Отсутствие интеграции информационных систем и необходимых данных </a:t>
          </a:r>
        </a:p>
      </dsp:txBody>
      <dsp:txXfrm>
        <a:off x="2277913" y="3345835"/>
        <a:ext cx="8603322" cy="914069"/>
      </dsp:txXfrm>
    </dsp:sp>
    <dsp:sp modelId="{86433B5E-5B9D-4F1F-AAD0-F01F27A811FA}">
      <dsp:nvSpPr>
        <dsp:cNvPr id="0" name=""/>
        <dsp:cNvSpPr/>
      </dsp:nvSpPr>
      <dsp:spPr>
        <a:xfrm>
          <a:off x="2999300" y="4423196"/>
          <a:ext cx="10041138" cy="970945"/>
        </a:xfrm>
        <a:prstGeom prst="roundRect">
          <a:avLst>
            <a:gd name="adj" fmla="val 10000"/>
          </a:avLst>
        </a:prstGeom>
        <a:solidFill>
          <a:srgbClr val="CDCDEB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kern="1200" dirty="0">
              <a:solidFill>
                <a:schemeClr val="tx1"/>
              </a:solidFill>
            </a:rPr>
            <a:t>Отсутствие типовых форм документов и четких требований к методическим материалам  </a:t>
          </a:r>
        </a:p>
      </dsp:txBody>
      <dsp:txXfrm>
        <a:off x="3027738" y="4451634"/>
        <a:ext cx="8603322" cy="914069"/>
      </dsp:txXfrm>
    </dsp:sp>
    <dsp:sp modelId="{7B089F72-CB85-435D-951C-C2FCFEC6E5A2}">
      <dsp:nvSpPr>
        <dsp:cNvPr id="0" name=""/>
        <dsp:cNvSpPr/>
      </dsp:nvSpPr>
      <dsp:spPr>
        <a:xfrm>
          <a:off x="9410023" y="709329"/>
          <a:ext cx="631114" cy="631114"/>
        </a:xfrm>
        <a:prstGeom prst="downArrow">
          <a:avLst>
            <a:gd name="adj1" fmla="val 55000"/>
            <a:gd name="adj2" fmla="val 45000"/>
          </a:avLst>
        </a:prstGeom>
        <a:solidFill>
          <a:srgbClr val="565087">
            <a:alpha val="90000"/>
          </a:srgb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800" kern="1200"/>
        </a:p>
      </dsp:txBody>
      <dsp:txXfrm>
        <a:off x="9552024" y="709329"/>
        <a:ext cx="347112" cy="474913"/>
      </dsp:txXfrm>
    </dsp:sp>
    <dsp:sp modelId="{FA635C37-98F3-49EA-BB03-E805376AF95C}">
      <dsp:nvSpPr>
        <dsp:cNvPr id="0" name=""/>
        <dsp:cNvSpPr/>
      </dsp:nvSpPr>
      <dsp:spPr>
        <a:xfrm>
          <a:off x="10159848" y="1815128"/>
          <a:ext cx="631114" cy="631114"/>
        </a:xfrm>
        <a:prstGeom prst="downArrow">
          <a:avLst>
            <a:gd name="adj1" fmla="val 55000"/>
            <a:gd name="adj2" fmla="val 45000"/>
          </a:avLst>
        </a:prstGeom>
        <a:solidFill>
          <a:srgbClr val="565087">
            <a:alpha val="90000"/>
          </a:srgb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800" kern="1200"/>
        </a:p>
      </dsp:txBody>
      <dsp:txXfrm>
        <a:off x="10301849" y="1815128"/>
        <a:ext cx="347112" cy="474913"/>
      </dsp:txXfrm>
    </dsp:sp>
    <dsp:sp modelId="{7E21EFE2-5152-432B-A8ED-88B3F72403ED}">
      <dsp:nvSpPr>
        <dsp:cNvPr id="0" name=""/>
        <dsp:cNvSpPr/>
      </dsp:nvSpPr>
      <dsp:spPr>
        <a:xfrm>
          <a:off x="10909673" y="2904745"/>
          <a:ext cx="631114" cy="631114"/>
        </a:xfrm>
        <a:prstGeom prst="downArrow">
          <a:avLst>
            <a:gd name="adj1" fmla="val 55000"/>
            <a:gd name="adj2" fmla="val 45000"/>
          </a:avLst>
        </a:prstGeom>
        <a:solidFill>
          <a:srgbClr val="565087">
            <a:alpha val="90000"/>
          </a:srgb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800" kern="1200"/>
        </a:p>
      </dsp:txBody>
      <dsp:txXfrm>
        <a:off x="11051674" y="2904745"/>
        <a:ext cx="347112" cy="474913"/>
      </dsp:txXfrm>
    </dsp:sp>
    <dsp:sp modelId="{F029429D-A84A-48EE-B6D5-3878786BB3AB}">
      <dsp:nvSpPr>
        <dsp:cNvPr id="0" name=""/>
        <dsp:cNvSpPr/>
      </dsp:nvSpPr>
      <dsp:spPr>
        <a:xfrm>
          <a:off x="11659499" y="4021332"/>
          <a:ext cx="631114" cy="631114"/>
        </a:xfrm>
        <a:prstGeom prst="downArrow">
          <a:avLst>
            <a:gd name="adj1" fmla="val 55000"/>
            <a:gd name="adj2" fmla="val 45000"/>
          </a:avLst>
        </a:prstGeom>
        <a:solidFill>
          <a:srgbClr val="565087">
            <a:alpha val="90000"/>
          </a:srgb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800" kern="1200"/>
        </a:p>
      </dsp:txBody>
      <dsp:txXfrm>
        <a:off x="11801500" y="4021332"/>
        <a:ext cx="347112" cy="474913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44C90-E2EA-4BC4-A4A3-3C0EB7F3951C}">
      <dsp:nvSpPr>
        <dsp:cNvPr id="0" name=""/>
        <dsp:cNvSpPr/>
      </dsp:nvSpPr>
      <dsp:spPr>
        <a:xfrm>
          <a:off x="847055" y="0"/>
          <a:ext cx="9599968" cy="6719711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3570F700-2951-4DB2-A233-A00B1F52E211}">
      <dsp:nvSpPr>
        <dsp:cNvPr id="0" name=""/>
        <dsp:cNvSpPr/>
      </dsp:nvSpPr>
      <dsp:spPr>
        <a:xfrm>
          <a:off x="5652" y="2015913"/>
          <a:ext cx="2718740" cy="2687884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/>
            <a:t>Снижение объема документации</a:t>
          </a:r>
        </a:p>
      </dsp:txBody>
      <dsp:txXfrm>
        <a:off x="136864" y="2147125"/>
        <a:ext cx="2456316" cy="2425460"/>
      </dsp:txXfrm>
    </dsp:sp>
    <dsp:sp modelId="{73CD7F6F-5C8D-4CE1-9EB9-B9134D4100E9}">
      <dsp:nvSpPr>
        <dsp:cNvPr id="0" name=""/>
        <dsp:cNvSpPr/>
      </dsp:nvSpPr>
      <dsp:spPr>
        <a:xfrm>
          <a:off x="2860330" y="2015913"/>
          <a:ext cx="2718740" cy="2687884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/>
            <a:t>Снижение объема мониторингов </a:t>
          </a:r>
        </a:p>
      </dsp:txBody>
      <dsp:txXfrm>
        <a:off x="2991542" y="2147125"/>
        <a:ext cx="2456316" cy="2425460"/>
      </dsp:txXfrm>
    </dsp:sp>
    <dsp:sp modelId="{2FCF2879-2DEC-45E0-8723-BFF92A221EAB}">
      <dsp:nvSpPr>
        <dsp:cNvPr id="0" name=""/>
        <dsp:cNvSpPr/>
      </dsp:nvSpPr>
      <dsp:spPr>
        <a:xfrm>
          <a:off x="5715008" y="2015913"/>
          <a:ext cx="2718740" cy="2687884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/>
            <a:t>Оптимизация и интеграция  информационных систем </a:t>
          </a:r>
        </a:p>
      </dsp:txBody>
      <dsp:txXfrm>
        <a:off x="5846220" y="2147125"/>
        <a:ext cx="2456316" cy="2425460"/>
      </dsp:txXfrm>
    </dsp:sp>
    <dsp:sp modelId="{3AA569DE-2B99-4A3F-B54D-21428893EBE0}">
      <dsp:nvSpPr>
        <dsp:cNvPr id="0" name=""/>
        <dsp:cNvSpPr/>
      </dsp:nvSpPr>
      <dsp:spPr>
        <a:xfrm>
          <a:off x="8569686" y="2015913"/>
          <a:ext cx="2718740" cy="2687884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/>
            <a:t>Снижение количества запросов </a:t>
          </a:r>
        </a:p>
      </dsp:txBody>
      <dsp:txXfrm>
        <a:off x="8700898" y="2147125"/>
        <a:ext cx="2456316" cy="242546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3B48E3-52FC-452C-A77B-B45AED80A4A0}">
      <dsp:nvSpPr>
        <dsp:cNvPr id="0" name=""/>
        <dsp:cNvSpPr/>
      </dsp:nvSpPr>
      <dsp:spPr>
        <a:xfrm>
          <a:off x="17367" y="386930"/>
          <a:ext cx="1918246" cy="52630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/>
            <a:t>Документация </a:t>
          </a:r>
        </a:p>
      </dsp:txBody>
      <dsp:txXfrm>
        <a:off x="17367" y="386930"/>
        <a:ext cx="1918246" cy="526302"/>
      </dsp:txXfrm>
    </dsp:sp>
    <dsp:sp modelId="{40700FF4-53A5-4568-815E-A446EA88823B}">
      <dsp:nvSpPr>
        <dsp:cNvPr id="0" name=""/>
        <dsp:cNvSpPr/>
      </dsp:nvSpPr>
      <dsp:spPr>
        <a:xfrm>
          <a:off x="10989" y="907124"/>
          <a:ext cx="1924634" cy="149810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kern="1200" dirty="0"/>
            <a:t>Перечни документации педагогов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kern="1200" dirty="0"/>
            <a:t>Перечни документации ОО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kern="1200" dirty="0"/>
            <a:t>Типовые формы документов  </a:t>
          </a:r>
        </a:p>
      </dsp:txBody>
      <dsp:txXfrm>
        <a:off x="10989" y="907124"/>
        <a:ext cx="1924634" cy="1498102"/>
      </dsp:txXfrm>
    </dsp:sp>
    <dsp:sp modelId="{8ADA405E-257E-4D72-A351-F0CBF502C7E0}">
      <dsp:nvSpPr>
        <dsp:cNvPr id="0" name=""/>
        <dsp:cNvSpPr/>
      </dsp:nvSpPr>
      <dsp:spPr>
        <a:xfrm>
          <a:off x="2197771" y="398155"/>
          <a:ext cx="1918246" cy="52630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/>
            <a:t>Мониторинги </a:t>
          </a:r>
        </a:p>
      </dsp:txBody>
      <dsp:txXfrm>
        <a:off x="2197771" y="398155"/>
        <a:ext cx="1918246" cy="526302"/>
      </dsp:txXfrm>
    </dsp:sp>
    <dsp:sp modelId="{62279D8D-DDB4-4596-8DA2-EC97B21A20F6}">
      <dsp:nvSpPr>
        <dsp:cNvPr id="0" name=""/>
        <dsp:cNvSpPr/>
      </dsp:nvSpPr>
      <dsp:spPr>
        <a:xfrm>
          <a:off x="2197771" y="924458"/>
          <a:ext cx="1918246" cy="1716648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kern="1200" dirty="0"/>
            <a:t>Перечни мониторингов и показателей </a:t>
          </a:r>
        </a:p>
      </dsp:txBody>
      <dsp:txXfrm>
        <a:off x="2197771" y="924458"/>
        <a:ext cx="1918246" cy="1716648"/>
      </dsp:txXfrm>
    </dsp:sp>
    <dsp:sp modelId="{FBA2DED2-25E1-4E14-BE3C-8F5ACE2C5841}">
      <dsp:nvSpPr>
        <dsp:cNvPr id="0" name=""/>
        <dsp:cNvSpPr/>
      </dsp:nvSpPr>
      <dsp:spPr>
        <a:xfrm>
          <a:off x="4384573" y="398155"/>
          <a:ext cx="1918246" cy="52630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/>
            <a:t>Информационные системы </a:t>
          </a:r>
        </a:p>
      </dsp:txBody>
      <dsp:txXfrm>
        <a:off x="4384573" y="398155"/>
        <a:ext cx="1918246" cy="526302"/>
      </dsp:txXfrm>
    </dsp:sp>
    <dsp:sp modelId="{2BE89F62-9239-4A49-8868-BEA1085FE824}">
      <dsp:nvSpPr>
        <dsp:cNvPr id="0" name=""/>
        <dsp:cNvSpPr/>
      </dsp:nvSpPr>
      <dsp:spPr>
        <a:xfrm>
          <a:off x="4384573" y="924458"/>
          <a:ext cx="1918246" cy="1716648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kern="1200" dirty="0"/>
            <a:t>Перечни информационных систем и собираемых данных 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kern="1200" dirty="0"/>
            <a:t>Оптимизация ИС</a:t>
          </a:r>
        </a:p>
      </dsp:txBody>
      <dsp:txXfrm>
        <a:off x="4384573" y="924458"/>
        <a:ext cx="1918246" cy="1716648"/>
      </dsp:txXfrm>
    </dsp:sp>
    <dsp:sp modelId="{1A30CB1E-F15C-4D4A-9912-ED777B74C82C}">
      <dsp:nvSpPr>
        <dsp:cNvPr id="0" name=""/>
        <dsp:cNvSpPr/>
      </dsp:nvSpPr>
      <dsp:spPr>
        <a:xfrm>
          <a:off x="6571374" y="398155"/>
          <a:ext cx="1918246" cy="52630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/>
            <a:t>Запросы </a:t>
          </a:r>
        </a:p>
      </dsp:txBody>
      <dsp:txXfrm>
        <a:off x="6571374" y="398155"/>
        <a:ext cx="1918246" cy="526302"/>
      </dsp:txXfrm>
    </dsp:sp>
    <dsp:sp modelId="{802477A5-92BE-4E74-B80F-B8A323B6EC76}">
      <dsp:nvSpPr>
        <dsp:cNvPr id="0" name=""/>
        <dsp:cNvSpPr/>
      </dsp:nvSpPr>
      <dsp:spPr>
        <a:xfrm>
          <a:off x="6571374" y="924458"/>
          <a:ext cx="1918246" cy="1716648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kern="1200" dirty="0"/>
            <a:t>Механизм</a:t>
          </a:r>
          <a:r>
            <a:rPr lang="ru-RU" sz="1300" kern="1200" baseline="0" dirty="0"/>
            <a:t> допуска</a:t>
          </a:r>
          <a:endParaRPr lang="ru-RU" sz="1300" kern="1200" dirty="0"/>
        </a:p>
      </dsp:txBody>
      <dsp:txXfrm>
        <a:off x="6571374" y="924458"/>
        <a:ext cx="1918246" cy="1716648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3B4D39-DC01-4C8B-A110-6C992F2C33CF}">
      <dsp:nvSpPr>
        <dsp:cNvPr id="0" name=""/>
        <dsp:cNvSpPr/>
      </dsp:nvSpPr>
      <dsp:spPr>
        <a:xfrm>
          <a:off x="803641" y="1426"/>
          <a:ext cx="2751528" cy="1650917"/>
        </a:xfrm>
        <a:prstGeom prst="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В каждом регионе назначены ответственные за снижение бюрократической нагрузки заместители министра  </a:t>
          </a:r>
        </a:p>
      </dsp:txBody>
      <dsp:txXfrm>
        <a:off x="803641" y="1426"/>
        <a:ext cx="2751528" cy="1650917"/>
      </dsp:txXfrm>
    </dsp:sp>
    <dsp:sp modelId="{FEC5274F-DEDB-40A3-8CA6-A0596DBB4121}">
      <dsp:nvSpPr>
        <dsp:cNvPr id="0" name=""/>
        <dsp:cNvSpPr/>
      </dsp:nvSpPr>
      <dsp:spPr>
        <a:xfrm>
          <a:off x="3830322" y="1426"/>
          <a:ext cx="2751528" cy="1650917"/>
        </a:xfrm>
        <a:prstGeom prst="rect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kern="1200" dirty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Внести изменения в региональные и локальные НПА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kern="1200" dirty="0"/>
        </a:p>
      </dsp:txBody>
      <dsp:txXfrm>
        <a:off x="3830322" y="1426"/>
        <a:ext cx="2751528" cy="1650917"/>
      </dsp:txXfrm>
    </dsp:sp>
    <dsp:sp modelId="{3A590DF1-1274-46F6-B381-708C79BBEDCD}">
      <dsp:nvSpPr>
        <dsp:cNvPr id="0" name=""/>
        <dsp:cNvSpPr/>
      </dsp:nvSpPr>
      <dsp:spPr>
        <a:xfrm>
          <a:off x="803641" y="1927496"/>
          <a:ext cx="2751528" cy="1650917"/>
        </a:xfrm>
        <a:prstGeom prst="rect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Создать региональную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«Горячую линию» </a:t>
          </a:r>
        </a:p>
      </dsp:txBody>
      <dsp:txXfrm>
        <a:off x="803641" y="1927496"/>
        <a:ext cx="2751528" cy="1650917"/>
      </dsp:txXfrm>
    </dsp:sp>
    <dsp:sp modelId="{0AD35DCA-7785-4CB9-BAB0-78DC318E56B7}">
      <dsp:nvSpPr>
        <dsp:cNvPr id="0" name=""/>
        <dsp:cNvSpPr/>
      </dsp:nvSpPr>
      <dsp:spPr>
        <a:xfrm>
          <a:off x="3830322" y="1927496"/>
          <a:ext cx="2751528" cy="1650917"/>
        </a:xfrm>
        <a:prstGeom prst="rect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Провести аудит региональных мониторингов и запросов с целью минимизации </a:t>
          </a:r>
        </a:p>
      </dsp:txBody>
      <dsp:txXfrm>
        <a:off x="3830322" y="1927496"/>
        <a:ext cx="2751528" cy="16509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F0F3D3-884F-8E45-98AB-E8ADE6E0FD28}" type="datetimeFigureOut">
              <a:rPr lang="ru-RU" smtClean="0"/>
              <a:t>16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30288" y="1241425"/>
            <a:ext cx="47371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EBCF3A-9B41-AC48-BBC4-8EC043A9334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79231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1pPr>
    <a:lvl2pPr marL="646469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2pPr>
    <a:lvl3pPr marL="1292937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3pPr>
    <a:lvl4pPr marL="1939406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4pPr>
    <a:lvl5pPr marL="2585874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5pPr>
    <a:lvl6pPr marL="3232343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6pPr>
    <a:lvl7pPr marL="3878810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7pPr>
    <a:lvl8pPr marL="4525280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8pPr>
    <a:lvl9pPr marL="5171747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3951" y="1749795"/>
            <a:ext cx="12851448" cy="3722335"/>
          </a:xfrm>
        </p:spPr>
        <p:txBody>
          <a:bodyPr anchor="b"/>
          <a:lstStyle>
            <a:lvl1pPr algn="ctr">
              <a:defRPr sz="935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89919" y="5615678"/>
            <a:ext cx="11339513" cy="2581379"/>
          </a:xfrm>
        </p:spPr>
        <p:txBody>
          <a:bodyPr/>
          <a:lstStyle>
            <a:lvl1pPr marL="0" indent="0" algn="ctr">
              <a:buNone/>
              <a:defRPr sz="3742"/>
            </a:lvl1pPr>
            <a:lvl2pPr marL="712775" indent="0" algn="ctr">
              <a:buNone/>
              <a:defRPr sz="3118"/>
            </a:lvl2pPr>
            <a:lvl3pPr marL="1425550" indent="0" algn="ctr">
              <a:buNone/>
              <a:defRPr sz="2806"/>
            </a:lvl3pPr>
            <a:lvl4pPr marL="2138324" indent="0" algn="ctr">
              <a:buNone/>
              <a:defRPr sz="2494"/>
            </a:lvl4pPr>
            <a:lvl5pPr marL="2851099" indent="0" algn="ctr">
              <a:buNone/>
              <a:defRPr sz="2494"/>
            </a:lvl5pPr>
            <a:lvl6pPr marL="3563874" indent="0" algn="ctr">
              <a:buNone/>
              <a:defRPr sz="2494"/>
            </a:lvl6pPr>
            <a:lvl7pPr marL="4276649" indent="0" algn="ctr">
              <a:buNone/>
              <a:defRPr sz="2494"/>
            </a:lvl7pPr>
            <a:lvl8pPr marL="4989424" indent="0" algn="ctr">
              <a:buNone/>
              <a:defRPr sz="2494"/>
            </a:lvl8pPr>
            <a:lvl9pPr marL="5702198" indent="0" algn="ctr">
              <a:buNone/>
              <a:defRPr sz="249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4781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233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819786" y="569240"/>
            <a:ext cx="3260110" cy="90608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39456" y="569240"/>
            <a:ext cx="9591338" cy="90608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32344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7172" b="2628"/>
          <a:stretch/>
        </p:blipFill>
        <p:spPr>
          <a:xfrm>
            <a:off x="7536420" y="0"/>
            <a:ext cx="7582932" cy="1069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5482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37816" b="2628"/>
          <a:stretch/>
        </p:blipFill>
        <p:spPr>
          <a:xfrm>
            <a:off x="10039700" y="0"/>
            <a:ext cx="5079650" cy="1069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6924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723034" y="-57713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965877" y="-200837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9307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3951" y="1749795"/>
            <a:ext cx="12851448" cy="3722335"/>
          </a:xfrm>
        </p:spPr>
        <p:txBody>
          <a:bodyPr anchor="b"/>
          <a:lstStyle>
            <a:lvl1pPr algn="ctr">
              <a:defRPr sz="935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89919" y="5615678"/>
            <a:ext cx="11339513" cy="2581379"/>
          </a:xfrm>
        </p:spPr>
        <p:txBody>
          <a:bodyPr/>
          <a:lstStyle>
            <a:lvl1pPr marL="0" indent="0" algn="ctr">
              <a:buNone/>
              <a:defRPr sz="3742"/>
            </a:lvl1pPr>
            <a:lvl2pPr marL="712775" indent="0" algn="ctr">
              <a:buNone/>
              <a:defRPr sz="3118"/>
            </a:lvl2pPr>
            <a:lvl3pPr marL="1425550" indent="0" algn="ctr">
              <a:buNone/>
              <a:defRPr sz="2806"/>
            </a:lvl3pPr>
            <a:lvl4pPr marL="2138324" indent="0" algn="ctr">
              <a:buNone/>
              <a:defRPr sz="2494"/>
            </a:lvl4pPr>
            <a:lvl5pPr marL="2851099" indent="0" algn="ctr">
              <a:buNone/>
              <a:defRPr sz="2494"/>
            </a:lvl5pPr>
            <a:lvl6pPr marL="3563874" indent="0" algn="ctr">
              <a:buNone/>
              <a:defRPr sz="2494"/>
            </a:lvl6pPr>
            <a:lvl7pPr marL="4276649" indent="0" algn="ctr">
              <a:buNone/>
              <a:defRPr sz="2494"/>
            </a:lvl7pPr>
            <a:lvl8pPr marL="4989424" indent="0" algn="ctr">
              <a:buNone/>
              <a:defRPr sz="2494"/>
            </a:lvl8pPr>
            <a:lvl9pPr marL="5702198" indent="0" algn="ctr">
              <a:buNone/>
              <a:defRPr sz="249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2848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8696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1582" y="2665532"/>
            <a:ext cx="13040439" cy="4447496"/>
          </a:xfrm>
        </p:spPr>
        <p:txBody>
          <a:bodyPr anchor="b"/>
          <a:lstStyle>
            <a:lvl1pPr>
              <a:defRPr sz="935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1582" y="7155103"/>
            <a:ext cx="13040439" cy="2338833"/>
          </a:xfrm>
        </p:spPr>
        <p:txBody>
          <a:bodyPr/>
          <a:lstStyle>
            <a:lvl1pPr marL="0" indent="0">
              <a:buNone/>
              <a:defRPr sz="3742">
                <a:solidFill>
                  <a:schemeClr val="tx1"/>
                </a:solidFill>
              </a:defRPr>
            </a:lvl1pPr>
            <a:lvl2pPr marL="712775" indent="0">
              <a:buNone/>
              <a:defRPr sz="3118">
                <a:solidFill>
                  <a:schemeClr val="tx1">
                    <a:tint val="75000"/>
                  </a:schemeClr>
                </a:solidFill>
              </a:defRPr>
            </a:lvl2pPr>
            <a:lvl3pPr marL="1425550" indent="0">
              <a:buNone/>
              <a:defRPr sz="2806">
                <a:solidFill>
                  <a:schemeClr val="tx1">
                    <a:tint val="75000"/>
                  </a:schemeClr>
                </a:solidFill>
              </a:defRPr>
            </a:lvl3pPr>
            <a:lvl4pPr marL="213832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4pPr>
            <a:lvl5pPr marL="2851099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5pPr>
            <a:lvl6pPr marL="356387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6pPr>
            <a:lvl7pPr marL="4276649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7pPr>
            <a:lvl8pPr marL="498942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8pPr>
            <a:lvl9pPr marL="5702198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1010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39455" y="2846200"/>
            <a:ext cx="642572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54171" y="2846200"/>
            <a:ext cx="642572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810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569242"/>
            <a:ext cx="13040439" cy="206659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1426" y="2620980"/>
            <a:ext cx="6396193" cy="1284502"/>
          </a:xfrm>
        </p:spPr>
        <p:txBody>
          <a:bodyPr anchor="b"/>
          <a:lstStyle>
            <a:lvl1pPr marL="0" indent="0">
              <a:buNone/>
              <a:defRPr sz="3742" b="1"/>
            </a:lvl1pPr>
            <a:lvl2pPr marL="712775" indent="0">
              <a:buNone/>
              <a:defRPr sz="3118" b="1"/>
            </a:lvl2pPr>
            <a:lvl3pPr marL="1425550" indent="0">
              <a:buNone/>
              <a:defRPr sz="2806" b="1"/>
            </a:lvl3pPr>
            <a:lvl4pPr marL="2138324" indent="0">
              <a:buNone/>
              <a:defRPr sz="2494" b="1"/>
            </a:lvl4pPr>
            <a:lvl5pPr marL="2851099" indent="0">
              <a:buNone/>
              <a:defRPr sz="2494" b="1"/>
            </a:lvl5pPr>
            <a:lvl6pPr marL="3563874" indent="0">
              <a:buNone/>
              <a:defRPr sz="2494" b="1"/>
            </a:lvl6pPr>
            <a:lvl7pPr marL="4276649" indent="0">
              <a:buNone/>
              <a:defRPr sz="2494" b="1"/>
            </a:lvl7pPr>
            <a:lvl8pPr marL="4989424" indent="0">
              <a:buNone/>
              <a:defRPr sz="2494" b="1"/>
            </a:lvl8pPr>
            <a:lvl9pPr marL="5702198" indent="0">
              <a:buNone/>
              <a:defRPr sz="249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41426" y="3905482"/>
            <a:ext cx="6396193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654172" y="2620980"/>
            <a:ext cx="6427693" cy="1284502"/>
          </a:xfrm>
        </p:spPr>
        <p:txBody>
          <a:bodyPr anchor="b"/>
          <a:lstStyle>
            <a:lvl1pPr marL="0" indent="0">
              <a:buNone/>
              <a:defRPr sz="3742" b="1"/>
            </a:lvl1pPr>
            <a:lvl2pPr marL="712775" indent="0">
              <a:buNone/>
              <a:defRPr sz="3118" b="1"/>
            </a:lvl2pPr>
            <a:lvl3pPr marL="1425550" indent="0">
              <a:buNone/>
              <a:defRPr sz="2806" b="1"/>
            </a:lvl3pPr>
            <a:lvl4pPr marL="2138324" indent="0">
              <a:buNone/>
              <a:defRPr sz="2494" b="1"/>
            </a:lvl4pPr>
            <a:lvl5pPr marL="2851099" indent="0">
              <a:buNone/>
              <a:defRPr sz="2494" b="1"/>
            </a:lvl5pPr>
            <a:lvl6pPr marL="3563874" indent="0">
              <a:buNone/>
              <a:defRPr sz="2494" b="1"/>
            </a:lvl6pPr>
            <a:lvl7pPr marL="4276649" indent="0">
              <a:buNone/>
              <a:defRPr sz="2494" b="1"/>
            </a:lvl7pPr>
            <a:lvl8pPr marL="4989424" indent="0">
              <a:buNone/>
              <a:defRPr sz="2494" b="1"/>
            </a:lvl8pPr>
            <a:lvl9pPr marL="5702198" indent="0">
              <a:buNone/>
              <a:defRPr sz="249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654172" y="3905482"/>
            <a:ext cx="6427693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3249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8755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76707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6970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712788"/>
            <a:ext cx="4876384" cy="2494756"/>
          </a:xfrm>
        </p:spPr>
        <p:txBody>
          <a:bodyPr anchor="b"/>
          <a:lstStyle>
            <a:lvl1pPr>
              <a:defRPr sz="498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27693" y="1539425"/>
            <a:ext cx="7654171" cy="7598117"/>
          </a:xfrm>
        </p:spPr>
        <p:txBody>
          <a:bodyPr/>
          <a:lstStyle>
            <a:lvl1pPr>
              <a:defRPr sz="4989"/>
            </a:lvl1pPr>
            <a:lvl2pPr>
              <a:defRPr sz="4365"/>
            </a:lvl2pPr>
            <a:lvl3pPr>
              <a:defRPr sz="3742"/>
            </a:lvl3pPr>
            <a:lvl4pPr>
              <a:defRPr sz="3118"/>
            </a:lvl4pPr>
            <a:lvl5pPr>
              <a:defRPr sz="3118"/>
            </a:lvl5pPr>
            <a:lvl6pPr>
              <a:defRPr sz="3118"/>
            </a:lvl6pPr>
            <a:lvl7pPr>
              <a:defRPr sz="3118"/>
            </a:lvl7pPr>
            <a:lvl8pPr>
              <a:defRPr sz="3118"/>
            </a:lvl8pPr>
            <a:lvl9pPr>
              <a:defRPr sz="3118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41425" y="3207544"/>
            <a:ext cx="4876384" cy="5942372"/>
          </a:xfrm>
        </p:spPr>
        <p:txBody>
          <a:bodyPr/>
          <a:lstStyle>
            <a:lvl1pPr marL="0" indent="0">
              <a:buNone/>
              <a:defRPr sz="2494"/>
            </a:lvl1pPr>
            <a:lvl2pPr marL="712775" indent="0">
              <a:buNone/>
              <a:defRPr sz="2183"/>
            </a:lvl2pPr>
            <a:lvl3pPr marL="1425550" indent="0">
              <a:buNone/>
              <a:defRPr sz="1871"/>
            </a:lvl3pPr>
            <a:lvl4pPr marL="2138324" indent="0">
              <a:buNone/>
              <a:defRPr sz="1559"/>
            </a:lvl4pPr>
            <a:lvl5pPr marL="2851099" indent="0">
              <a:buNone/>
              <a:defRPr sz="1559"/>
            </a:lvl5pPr>
            <a:lvl6pPr marL="3563874" indent="0">
              <a:buNone/>
              <a:defRPr sz="1559"/>
            </a:lvl6pPr>
            <a:lvl7pPr marL="4276649" indent="0">
              <a:buNone/>
              <a:defRPr sz="1559"/>
            </a:lvl7pPr>
            <a:lvl8pPr marL="4989424" indent="0">
              <a:buNone/>
              <a:defRPr sz="1559"/>
            </a:lvl8pPr>
            <a:lvl9pPr marL="5702198" indent="0">
              <a:buNone/>
              <a:defRPr sz="155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03202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712788"/>
            <a:ext cx="4876384" cy="2494756"/>
          </a:xfrm>
        </p:spPr>
        <p:txBody>
          <a:bodyPr anchor="b"/>
          <a:lstStyle>
            <a:lvl1pPr>
              <a:defRPr sz="498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427693" y="1539425"/>
            <a:ext cx="7654171" cy="7598117"/>
          </a:xfrm>
        </p:spPr>
        <p:txBody>
          <a:bodyPr anchor="t"/>
          <a:lstStyle>
            <a:lvl1pPr marL="0" indent="0">
              <a:buNone/>
              <a:defRPr sz="4989"/>
            </a:lvl1pPr>
            <a:lvl2pPr marL="712775" indent="0">
              <a:buNone/>
              <a:defRPr sz="4365"/>
            </a:lvl2pPr>
            <a:lvl3pPr marL="1425550" indent="0">
              <a:buNone/>
              <a:defRPr sz="3742"/>
            </a:lvl3pPr>
            <a:lvl4pPr marL="2138324" indent="0">
              <a:buNone/>
              <a:defRPr sz="3118"/>
            </a:lvl4pPr>
            <a:lvl5pPr marL="2851099" indent="0">
              <a:buNone/>
              <a:defRPr sz="3118"/>
            </a:lvl5pPr>
            <a:lvl6pPr marL="3563874" indent="0">
              <a:buNone/>
              <a:defRPr sz="3118"/>
            </a:lvl6pPr>
            <a:lvl7pPr marL="4276649" indent="0">
              <a:buNone/>
              <a:defRPr sz="3118"/>
            </a:lvl7pPr>
            <a:lvl8pPr marL="4989424" indent="0">
              <a:buNone/>
              <a:defRPr sz="3118"/>
            </a:lvl8pPr>
            <a:lvl9pPr marL="5702198" indent="0">
              <a:buNone/>
              <a:defRPr sz="3118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41425" y="3207544"/>
            <a:ext cx="4876384" cy="5942372"/>
          </a:xfrm>
        </p:spPr>
        <p:txBody>
          <a:bodyPr/>
          <a:lstStyle>
            <a:lvl1pPr marL="0" indent="0">
              <a:buNone/>
              <a:defRPr sz="2494"/>
            </a:lvl1pPr>
            <a:lvl2pPr marL="712775" indent="0">
              <a:buNone/>
              <a:defRPr sz="2183"/>
            </a:lvl2pPr>
            <a:lvl3pPr marL="1425550" indent="0">
              <a:buNone/>
              <a:defRPr sz="1871"/>
            </a:lvl3pPr>
            <a:lvl4pPr marL="2138324" indent="0">
              <a:buNone/>
              <a:defRPr sz="1559"/>
            </a:lvl4pPr>
            <a:lvl5pPr marL="2851099" indent="0">
              <a:buNone/>
              <a:defRPr sz="1559"/>
            </a:lvl5pPr>
            <a:lvl6pPr marL="3563874" indent="0">
              <a:buNone/>
              <a:defRPr sz="1559"/>
            </a:lvl6pPr>
            <a:lvl7pPr marL="4276649" indent="0">
              <a:buNone/>
              <a:defRPr sz="1559"/>
            </a:lvl7pPr>
            <a:lvl8pPr marL="4989424" indent="0">
              <a:buNone/>
              <a:defRPr sz="1559"/>
            </a:lvl8pPr>
            <a:lvl9pPr marL="5702198" indent="0">
              <a:buNone/>
              <a:defRPr sz="155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9942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02914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819786" y="569240"/>
            <a:ext cx="3260110" cy="90608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39456" y="569240"/>
            <a:ext cx="9591338" cy="90608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4324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C35AF6F3-B095-B057-C0EE-75899C8CB192}"/>
              </a:ext>
            </a:extLst>
          </p:cNvPr>
          <p:cNvGrpSpPr/>
          <p:nvPr userDrawn="1"/>
        </p:nvGrpSpPr>
        <p:grpSpPr>
          <a:xfrm>
            <a:off x="-487248" y="888"/>
            <a:ext cx="1530949" cy="1604132"/>
            <a:chOff x="-582970" y="1"/>
            <a:chExt cx="1829334" cy="1916780"/>
          </a:xfrm>
        </p:grpSpPr>
        <p:sp>
          <p:nvSpPr>
            <p:cNvPr id="7" name="Параллелограмм 6">
              <a:extLst>
                <a:ext uri="{FF2B5EF4-FFF2-40B4-BE49-F238E27FC236}">
                  <a16:creationId xmlns:a16="http://schemas.microsoft.com/office/drawing/2014/main" id="{7E0063F6-DAEE-40EB-AA69-53900610854F}"/>
                </a:ext>
              </a:extLst>
            </p:cNvPr>
            <p:cNvSpPr/>
            <p:nvPr userDrawn="1"/>
          </p:nvSpPr>
          <p:spPr>
            <a:xfrm flipH="1">
              <a:off x="-388610" y="143122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27">
                <a:solidFill>
                  <a:prstClr val="white"/>
                </a:solidFill>
              </a:endParaRPr>
            </a:p>
          </p:txBody>
        </p:sp>
        <p:sp>
          <p:nvSpPr>
            <p:cNvPr id="8" name="Параллелограмм 7">
              <a:extLst>
                <a:ext uri="{FF2B5EF4-FFF2-40B4-BE49-F238E27FC236}">
                  <a16:creationId xmlns:a16="http://schemas.microsoft.com/office/drawing/2014/main" id="{DEDE95C7-F512-4831-9DE4-2A8C97B9D18C}"/>
                </a:ext>
              </a:extLst>
            </p:cNvPr>
            <p:cNvSpPr/>
            <p:nvPr userDrawn="1"/>
          </p:nvSpPr>
          <p:spPr>
            <a:xfrm flipH="1">
              <a:off x="-582970" y="1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rgbClr val="A2A2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27">
                <a:solidFill>
                  <a:prstClr val="white"/>
                </a:solidFill>
              </a:endParaRPr>
            </a:p>
          </p:txBody>
        </p:sp>
        <p:sp>
          <p:nvSpPr>
            <p:cNvPr id="9" name="Прямоугольный треугольник 8">
              <a:extLst>
                <a:ext uri="{FF2B5EF4-FFF2-40B4-BE49-F238E27FC236}">
                  <a16:creationId xmlns:a16="http://schemas.microsoft.com/office/drawing/2014/main" id="{9E6EBBB3-D026-4F84-A5EC-9EF684A48DCB}"/>
                </a:ext>
              </a:extLst>
            </p:cNvPr>
            <p:cNvSpPr/>
            <p:nvPr userDrawn="1"/>
          </p:nvSpPr>
          <p:spPr>
            <a:xfrm flipH="1" flipV="1">
              <a:off x="2" y="10"/>
              <a:ext cx="1065473" cy="1339448"/>
            </a:xfrm>
            <a:prstGeom prst="rtTriangle">
              <a:avLst/>
            </a:prstGeom>
            <a:solidFill>
              <a:srgbClr val="565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27">
                <a:solidFill>
                  <a:prstClr val="white"/>
                </a:solidFill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94767AD-6F14-465F-B141-A3B8B5C5270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74122" y="334963"/>
            <a:ext cx="900953" cy="816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1163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6865"/>
          <a:stretch/>
        </p:blipFill>
        <p:spPr>
          <a:xfrm>
            <a:off x="6950503" y="0"/>
            <a:ext cx="8168855" cy="1069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6342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61515" y="234524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23036" y="1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11905000" y="11"/>
            <a:ext cx="1352732" cy="1339448"/>
          </a:xfrm>
          <a:prstGeom prst="rt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3257738" y="11"/>
            <a:ext cx="1861619" cy="133944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22" tIns="54012" rIns="108022" bIns="540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3480750" y="220281"/>
            <a:ext cx="1638602" cy="87677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127" b="1" dirty="0">
                <a:solidFill>
                  <a:srgbClr val="7A5D00"/>
                </a:solidFill>
              </a:rPr>
              <a:t>СМИ</a:t>
            </a:r>
          </a:p>
        </p:txBody>
      </p:sp>
    </p:spTree>
    <p:extLst>
      <p:ext uri="{BB962C8B-B14F-4D97-AF65-F5344CB8AC3E}">
        <p14:creationId xmlns:p14="http://schemas.microsoft.com/office/powerpoint/2010/main" val="26444827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61515" y="234524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23036" y="1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10761796" y="11"/>
            <a:ext cx="1352732" cy="1339448"/>
          </a:xfrm>
          <a:prstGeom prst="rtTriangle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2114534" y="11"/>
            <a:ext cx="3004823" cy="1339448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22" tIns="54012" rIns="108022" bIns="540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2114535" y="220281"/>
            <a:ext cx="3004823" cy="87677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127" b="1" dirty="0">
                <a:solidFill>
                  <a:srgbClr val="565087"/>
                </a:solidFill>
              </a:rPr>
              <a:t>Мероприятия</a:t>
            </a:r>
          </a:p>
        </p:txBody>
      </p:sp>
    </p:spTree>
    <p:extLst>
      <p:ext uri="{BB962C8B-B14F-4D97-AF65-F5344CB8AC3E}">
        <p14:creationId xmlns:p14="http://schemas.microsoft.com/office/powerpoint/2010/main" val="4059931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1582" y="2665532"/>
            <a:ext cx="13040439" cy="4447496"/>
          </a:xfrm>
        </p:spPr>
        <p:txBody>
          <a:bodyPr anchor="b"/>
          <a:lstStyle>
            <a:lvl1pPr>
              <a:defRPr sz="935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1582" y="7155103"/>
            <a:ext cx="13040439" cy="2338833"/>
          </a:xfrm>
        </p:spPr>
        <p:txBody>
          <a:bodyPr/>
          <a:lstStyle>
            <a:lvl1pPr marL="0" indent="0">
              <a:buNone/>
              <a:defRPr sz="3742">
                <a:solidFill>
                  <a:schemeClr val="tx1"/>
                </a:solidFill>
              </a:defRPr>
            </a:lvl1pPr>
            <a:lvl2pPr marL="712775" indent="0">
              <a:buNone/>
              <a:defRPr sz="3118">
                <a:solidFill>
                  <a:schemeClr val="tx1">
                    <a:tint val="75000"/>
                  </a:schemeClr>
                </a:solidFill>
              </a:defRPr>
            </a:lvl2pPr>
            <a:lvl3pPr marL="1425550" indent="0">
              <a:buNone/>
              <a:defRPr sz="2806">
                <a:solidFill>
                  <a:schemeClr val="tx1">
                    <a:tint val="75000"/>
                  </a:schemeClr>
                </a:solidFill>
              </a:defRPr>
            </a:lvl3pPr>
            <a:lvl4pPr marL="213832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4pPr>
            <a:lvl5pPr marL="2851099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5pPr>
            <a:lvl6pPr marL="356387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6pPr>
            <a:lvl7pPr marL="4276649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7pPr>
            <a:lvl8pPr marL="498942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8pPr>
            <a:lvl9pPr marL="5702198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2181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61515" y="234524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23036" y="1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10290360" y="11"/>
            <a:ext cx="1352732" cy="1339448"/>
          </a:xfrm>
          <a:prstGeom prst="rtTriangle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1643096" y="11"/>
            <a:ext cx="3476261" cy="1339448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22" tIns="54012" rIns="108022" bIns="540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1485951" y="220281"/>
            <a:ext cx="3633407" cy="87677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127" b="1" dirty="0">
                <a:solidFill>
                  <a:prstClr val="white"/>
                </a:solidFill>
              </a:rPr>
              <a:t>Социальные сети</a:t>
            </a:r>
          </a:p>
        </p:txBody>
      </p:sp>
    </p:spTree>
    <p:extLst>
      <p:ext uri="{BB962C8B-B14F-4D97-AF65-F5344CB8AC3E}">
        <p14:creationId xmlns:p14="http://schemas.microsoft.com/office/powerpoint/2010/main" val="17759600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297"/>
          <a:stretch/>
        </p:blipFill>
        <p:spPr>
          <a:xfrm>
            <a:off x="7501985" y="4837850"/>
            <a:ext cx="7617368" cy="5853974"/>
          </a:xfrm>
          <a:prstGeom prst="rect">
            <a:avLst/>
          </a:prstGeom>
        </p:spPr>
      </p:pic>
      <p:sp>
        <p:nvSpPr>
          <p:cNvPr id="4" name="Параллелограмм 3"/>
          <p:cNvSpPr/>
          <p:nvPr userDrawn="1"/>
        </p:nvSpPr>
        <p:spPr>
          <a:xfrm flipH="1">
            <a:off x="3495703" y="2"/>
            <a:ext cx="2933003" cy="2687688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 userDrawn="1"/>
        </p:nvSpPr>
        <p:spPr>
          <a:xfrm flipH="1">
            <a:off x="-961538" y="3592719"/>
            <a:ext cx="4261604" cy="4172109"/>
          </a:xfrm>
          <a:prstGeom prst="parallelogram">
            <a:avLst>
              <a:gd name="adj" fmla="val 95335"/>
            </a:avLst>
          </a:prstGeom>
          <a:solidFill>
            <a:srgbClr val="77B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215278" y="3274936"/>
            <a:ext cx="8027766" cy="9341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ru-RU" sz="2735" b="1" dirty="0">
                <a:solidFill>
                  <a:srgbClr val="3D284E"/>
                </a:solidFill>
              </a:rPr>
              <a:t>ПЛАНИРОВАНИЕ ИНФОРМАЦИОННОЙ РАБОТЫ</a:t>
            </a:r>
          </a:p>
        </p:txBody>
      </p:sp>
      <p:sp>
        <p:nvSpPr>
          <p:cNvPr id="10" name="Параллелограмм 9"/>
          <p:cNvSpPr/>
          <p:nvPr userDrawn="1"/>
        </p:nvSpPr>
        <p:spPr>
          <a:xfrm flipH="1">
            <a:off x="1364893" y="9307592"/>
            <a:ext cx="4261604" cy="417210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5197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3951" y="1749795"/>
            <a:ext cx="12851448" cy="3722335"/>
          </a:xfrm>
        </p:spPr>
        <p:txBody>
          <a:bodyPr anchor="b"/>
          <a:lstStyle>
            <a:lvl1pPr algn="ctr">
              <a:defRPr sz="7441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89920" y="5615679"/>
            <a:ext cx="11339513" cy="2581379"/>
          </a:xfrm>
        </p:spPr>
        <p:txBody>
          <a:bodyPr/>
          <a:lstStyle>
            <a:lvl1pPr marL="0" indent="0" algn="ctr">
              <a:buNone/>
              <a:defRPr sz="2976"/>
            </a:lvl1pPr>
            <a:lvl2pPr marL="566941" indent="0" algn="ctr">
              <a:buNone/>
              <a:defRPr sz="2480"/>
            </a:lvl2pPr>
            <a:lvl3pPr marL="1133883" indent="0" algn="ctr">
              <a:buNone/>
              <a:defRPr sz="2232"/>
            </a:lvl3pPr>
            <a:lvl4pPr marL="1700823" indent="0" algn="ctr">
              <a:buNone/>
              <a:defRPr sz="1984"/>
            </a:lvl4pPr>
            <a:lvl5pPr marL="2267765" indent="0" algn="ctr">
              <a:buNone/>
              <a:defRPr sz="1984"/>
            </a:lvl5pPr>
            <a:lvl6pPr marL="2834706" indent="0" algn="ctr">
              <a:buNone/>
              <a:defRPr sz="1984"/>
            </a:lvl6pPr>
            <a:lvl7pPr marL="3401648" indent="0" algn="ctr">
              <a:buNone/>
              <a:defRPr sz="1984"/>
            </a:lvl7pPr>
            <a:lvl8pPr marL="3968589" indent="0" algn="ctr">
              <a:buNone/>
              <a:defRPr sz="1984"/>
            </a:lvl8pPr>
            <a:lvl9pPr marL="4535529" indent="0" algn="ctr">
              <a:buNone/>
              <a:defRPr sz="198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6586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1901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1582" y="2665533"/>
            <a:ext cx="13040439" cy="4447496"/>
          </a:xfrm>
        </p:spPr>
        <p:txBody>
          <a:bodyPr anchor="b"/>
          <a:lstStyle>
            <a:lvl1pPr>
              <a:defRPr sz="7441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1582" y="7155105"/>
            <a:ext cx="13040439" cy="2338833"/>
          </a:xfrm>
        </p:spPr>
        <p:txBody>
          <a:bodyPr/>
          <a:lstStyle>
            <a:lvl1pPr marL="0" indent="0">
              <a:buNone/>
              <a:defRPr sz="2976">
                <a:solidFill>
                  <a:schemeClr val="tx1"/>
                </a:solidFill>
              </a:defRPr>
            </a:lvl1pPr>
            <a:lvl2pPr marL="566941" indent="0">
              <a:buNone/>
              <a:defRPr sz="2480">
                <a:solidFill>
                  <a:schemeClr val="tx1">
                    <a:tint val="75000"/>
                  </a:schemeClr>
                </a:solidFill>
              </a:defRPr>
            </a:lvl2pPr>
            <a:lvl3pPr marL="1133883" indent="0">
              <a:buNone/>
              <a:defRPr sz="2232">
                <a:solidFill>
                  <a:schemeClr val="tx1">
                    <a:tint val="75000"/>
                  </a:schemeClr>
                </a:solidFill>
              </a:defRPr>
            </a:lvl3pPr>
            <a:lvl4pPr marL="170082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4pPr>
            <a:lvl5pPr marL="2267765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5pPr>
            <a:lvl6pPr marL="2834706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6pPr>
            <a:lvl7pPr marL="3401648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7pPr>
            <a:lvl8pPr marL="3968589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8pPr>
            <a:lvl9pPr marL="4535529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3756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39455" y="2846200"/>
            <a:ext cx="642572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54171" y="2846200"/>
            <a:ext cx="642572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5022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6" y="569242"/>
            <a:ext cx="13040439" cy="206659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1427" y="2620980"/>
            <a:ext cx="6396193" cy="1284502"/>
          </a:xfrm>
        </p:spPr>
        <p:txBody>
          <a:bodyPr anchor="b"/>
          <a:lstStyle>
            <a:lvl1pPr marL="0" indent="0">
              <a:buNone/>
              <a:defRPr sz="2976" b="1"/>
            </a:lvl1pPr>
            <a:lvl2pPr marL="566941" indent="0">
              <a:buNone/>
              <a:defRPr sz="2480" b="1"/>
            </a:lvl2pPr>
            <a:lvl3pPr marL="1133883" indent="0">
              <a:buNone/>
              <a:defRPr sz="2232" b="1"/>
            </a:lvl3pPr>
            <a:lvl4pPr marL="1700823" indent="0">
              <a:buNone/>
              <a:defRPr sz="1984" b="1"/>
            </a:lvl4pPr>
            <a:lvl5pPr marL="2267765" indent="0">
              <a:buNone/>
              <a:defRPr sz="1984" b="1"/>
            </a:lvl5pPr>
            <a:lvl6pPr marL="2834706" indent="0">
              <a:buNone/>
              <a:defRPr sz="1984" b="1"/>
            </a:lvl6pPr>
            <a:lvl7pPr marL="3401648" indent="0">
              <a:buNone/>
              <a:defRPr sz="1984" b="1"/>
            </a:lvl7pPr>
            <a:lvl8pPr marL="3968589" indent="0">
              <a:buNone/>
              <a:defRPr sz="1984" b="1"/>
            </a:lvl8pPr>
            <a:lvl9pPr marL="4535529" indent="0">
              <a:buNone/>
              <a:defRPr sz="198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41427" y="3905482"/>
            <a:ext cx="6396193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654172" y="2620980"/>
            <a:ext cx="6427693" cy="1284502"/>
          </a:xfrm>
        </p:spPr>
        <p:txBody>
          <a:bodyPr anchor="b"/>
          <a:lstStyle>
            <a:lvl1pPr marL="0" indent="0">
              <a:buNone/>
              <a:defRPr sz="2976" b="1"/>
            </a:lvl1pPr>
            <a:lvl2pPr marL="566941" indent="0">
              <a:buNone/>
              <a:defRPr sz="2480" b="1"/>
            </a:lvl2pPr>
            <a:lvl3pPr marL="1133883" indent="0">
              <a:buNone/>
              <a:defRPr sz="2232" b="1"/>
            </a:lvl3pPr>
            <a:lvl4pPr marL="1700823" indent="0">
              <a:buNone/>
              <a:defRPr sz="1984" b="1"/>
            </a:lvl4pPr>
            <a:lvl5pPr marL="2267765" indent="0">
              <a:buNone/>
              <a:defRPr sz="1984" b="1"/>
            </a:lvl5pPr>
            <a:lvl6pPr marL="2834706" indent="0">
              <a:buNone/>
              <a:defRPr sz="1984" b="1"/>
            </a:lvl6pPr>
            <a:lvl7pPr marL="3401648" indent="0">
              <a:buNone/>
              <a:defRPr sz="1984" b="1"/>
            </a:lvl7pPr>
            <a:lvl8pPr marL="3968589" indent="0">
              <a:buNone/>
              <a:defRPr sz="1984" b="1"/>
            </a:lvl8pPr>
            <a:lvl9pPr marL="4535529" indent="0">
              <a:buNone/>
              <a:defRPr sz="198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654172" y="3905482"/>
            <a:ext cx="6427693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693907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3202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51257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7" y="712788"/>
            <a:ext cx="4876383" cy="2494756"/>
          </a:xfrm>
        </p:spPr>
        <p:txBody>
          <a:bodyPr anchor="b"/>
          <a:lstStyle>
            <a:lvl1pPr>
              <a:defRPr sz="3968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27693" y="1539427"/>
            <a:ext cx="7654171" cy="7598117"/>
          </a:xfrm>
        </p:spPr>
        <p:txBody>
          <a:bodyPr/>
          <a:lstStyle>
            <a:lvl1pPr>
              <a:defRPr sz="3968"/>
            </a:lvl1pPr>
            <a:lvl2pPr>
              <a:defRPr sz="3472"/>
            </a:lvl2pPr>
            <a:lvl3pPr>
              <a:defRPr sz="2976"/>
            </a:lvl3pPr>
            <a:lvl4pPr>
              <a:defRPr sz="2480"/>
            </a:lvl4pPr>
            <a:lvl5pPr>
              <a:defRPr sz="2480"/>
            </a:lvl5pPr>
            <a:lvl6pPr>
              <a:defRPr sz="2480"/>
            </a:lvl6pPr>
            <a:lvl7pPr>
              <a:defRPr sz="2480"/>
            </a:lvl7pPr>
            <a:lvl8pPr>
              <a:defRPr sz="2480"/>
            </a:lvl8pPr>
            <a:lvl9pPr>
              <a:defRPr sz="248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41427" y="3207544"/>
            <a:ext cx="4876383" cy="5942372"/>
          </a:xfrm>
        </p:spPr>
        <p:txBody>
          <a:bodyPr/>
          <a:lstStyle>
            <a:lvl1pPr marL="0" indent="0">
              <a:buNone/>
              <a:defRPr sz="1984"/>
            </a:lvl1pPr>
            <a:lvl2pPr marL="566941" indent="0">
              <a:buNone/>
              <a:defRPr sz="1736"/>
            </a:lvl2pPr>
            <a:lvl3pPr marL="1133883" indent="0">
              <a:buNone/>
              <a:defRPr sz="1488"/>
            </a:lvl3pPr>
            <a:lvl4pPr marL="1700823" indent="0">
              <a:buNone/>
              <a:defRPr sz="1240"/>
            </a:lvl4pPr>
            <a:lvl5pPr marL="2267765" indent="0">
              <a:buNone/>
              <a:defRPr sz="1240"/>
            </a:lvl5pPr>
            <a:lvl6pPr marL="2834706" indent="0">
              <a:buNone/>
              <a:defRPr sz="1240"/>
            </a:lvl6pPr>
            <a:lvl7pPr marL="3401648" indent="0">
              <a:buNone/>
              <a:defRPr sz="1240"/>
            </a:lvl7pPr>
            <a:lvl8pPr marL="3968589" indent="0">
              <a:buNone/>
              <a:defRPr sz="1240"/>
            </a:lvl8pPr>
            <a:lvl9pPr marL="4535529" indent="0">
              <a:buNone/>
              <a:defRPr sz="124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63571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39455" y="2846200"/>
            <a:ext cx="642572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54171" y="2846200"/>
            <a:ext cx="642572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95791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7" y="712788"/>
            <a:ext cx="4876383" cy="2494756"/>
          </a:xfrm>
        </p:spPr>
        <p:txBody>
          <a:bodyPr anchor="b"/>
          <a:lstStyle>
            <a:lvl1pPr>
              <a:defRPr sz="3968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427693" y="1539427"/>
            <a:ext cx="7654171" cy="7598117"/>
          </a:xfrm>
        </p:spPr>
        <p:txBody>
          <a:bodyPr anchor="t"/>
          <a:lstStyle>
            <a:lvl1pPr marL="0" indent="0">
              <a:buNone/>
              <a:defRPr sz="3968"/>
            </a:lvl1pPr>
            <a:lvl2pPr marL="566941" indent="0">
              <a:buNone/>
              <a:defRPr sz="3472"/>
            </a:lvl2pPr>
            <a:lvl3pPr marL="1133883" indent="0">
              <a:buNone/>
              <a:defRPr sz="2976"/>
            </a:lvl3pPr>
            <a:lvl4pPr marL="1700823" indent="0">
              <a:buNone/>
              <a:defRPr sz="2480"/>
            </a:lvl4pPr>
            <a:lvl5pPr marL="2267765" indent="0">
              <a:buNone/>
              <a:defRPr sz="2480"/>
            </a:lvl5pPr>
            <a:lvl6pPr marL="2834706" indent="0">
              <a:buNone/>
              <a:defRPr sz="2480"/>
            </a:lvl6pPr>
            <a:lvl7pPr marL="3401648" indent="0">
              <a:buNone/>
              <a:defRPr sz="2480"/>
            </a:lvl7pPr>
            <a:lvl8pPr marL="3968589" indent="0">
              <a:buNone/>
              <a:defRPr sz="2480"/>
            </a:lvl8pPr>
            <a:lvl9pPr marL="4535529" indent="0">
              <a:buNone/>
              <a:defRPr sz="248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41427" y="3207544"/>
            <a:ext cx="4876383" cy="5942372"/>
          </a:xfrm>
        </p:spPr>
        <p:txBody>
          <a:bodyPr/>
          <a:lstStyle>
            <a:lvl1pPr marL="0" indent="0">
              <a:buNone/>
              <a:defRPr sz="1984"/>
            </a:lvl1pPr>
            <a:lvl2pPr marL="566941" indent="0">
              <a:buNone/>
              <a:defRPr sz="1736"/>
            </a:lvl2pPr>
            <a:lvl3pPr marL="1133883" indent="0">
              <a:buNone/>
              <a:defRPr sz="1488"/>
            </a:lvl3pPr>
            <a:lvl4pPr marL="1700823" indent="0">
              <a:buNone/>
              <a:defRPr sz="1240"/>
            </a:lvl4pPr>
            <a:lvl5pPr marL="2267765" indent="0">
              <a:buNone/>
              <a:defRPr sz="1240"/>
            </a:lvl5pPr>
            <a:lvl6pPr marL="2834706" indent="0">
              <a:buNone/>
              <a:defRPr sz="1240"/>
            </a:lvl6pPr>
            <a:lvl7pPr marL="3401648" indent="0">
              <a:buNone/>
              <a:defRPr sz="1240"/>
            </a:lvl7pPr>
            <a:lvl8pPr marL="3968589" indent="0">
              <a:buNone/>
              <a:defRPr sz="1240"/>
            </a:lvl8pPr>
            <a:lvl9pPr marL="4535529" indent="0">
              <a:buNone/>
              <a:defRPr sz="124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0676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35282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819786" y="569240"/>
            <a:ext cx="3260110" cy="90608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39456" y="569240"/>
            <a:ext cx="9591338" cy="90608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67575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C35AF6F3-B095-B057-C0EE-75899C8CB192}"/>
              </a:ext>
            </a:extLst>
          </p:cNvPr>
          <p:cNvGrpSpPr/>
          <p:nvPr userDrawn="1"/>
        </p:nvGrpSpPr>
        <p:grpSpPr>
          <a:xfrm>
            <a:off x="-487248" y="889"/>
            <a:ext cx="1530950" cy="1604132"/>
            <a:chOff x="-582970" y="1"/>
            <a:chExt cx="1829334" cy="1916780"/>
          </a:xfrm>
        </p:grpSpPr>
        <p:sp>
          <p:nvSpPr>
            <p:cNvPr id="7" name="Параллелограмм 6">
              <a:extLst>
                <a:ext uri="{FF2B5EF4-FFF2-40B4-BE49-F238E27FC236}">
                  <a16:creationId xmlns:a16="http://schemas.microsoft.com/office/drawing/2014/main" id="{7E0063F6-DAEE-40EB-AA69-53900610854F}"/>
                </a:ext>
              </a:extLst>
            </p:cNvPr>
            <p:cNvSpPr/>
            <p:nvPr userDrawn="1"/>
          </p:nvSpPr>
          <p:spPr>
            <a:xfrm flipH="1">
              <a:off x="-388610" y="143122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91">
                <a:solidFill>
                  <a:prstClr val="white"/>
                </a:solidFill>
              </a:endParaRPr>
            </a:p>
          </p:txBody>
        </p:sp>
        <p:sp>
          <p:nvSpPr>
            <p:cNvPr id="8" name="Параллелограмм 7">
              <a:extLst>
                <a:ext uri="{FF2B5EF4-FFF2-40B4-BE49-F238E27FC236}">
                  <a16:creationId xmlns:a16="http://schemas.microsoft.com/office/drawing/2014/main" id="{DEDE95C7-F512-4831-9DE4-2A8C97B9D18C}"/>
                </a:ext>
              </a:extLst>
            </p:cNvPr>
            <p:cNvSpPr/>
            <p:nvPr userDrawn="1"/>
          </p:nvSpPr>
          <p:spPr>
            <a:xfrm flipH="1">
              <a:off x="-582970" y="1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rgbClr val="A2A2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91">
                <a:solidFill>
                  <a:prstClr val="white"/>
                </a:solidFill>
              </a:endParaRPr>
            </a:p>
          </p:txBody>
        </p:sp>
        <p:sp>
          <p:nvSpPr>
            <p:cNvPr id="9" name="Прямоугольный треугольник 8">
              <a:extLst>
                <a:ext uri="{FF2B5EF4-FFF2-40B4-BE49-F238E27FC236}">
                  <a16:creationId xmlns:a16="http://schemas.microsoft.com/office/drawing/2014/main" id="{9E6EBBB3-D026-4F84-A5EC-9EF684A48DCB}"/>
                </a:ext>
              </a:extLst>
            </p:cNvPr>
            <p:cNvSpPr/>
            <p:nvPr userDrawn="1"/>
          </p:nvSpPr>
          <p:spPr>
            <a:xfrm flipH="1" flipV="1">
              <a:off x="2" y="10"/>
              <a:ext cx="1065473" cy="1339448"/>
            </a:xfrm>
            <a:prstGeom prst="rtTriangle">
              <a:avLst/>
            </a:prstGeom>
            <a:solidFill>
              <a:srgbClr val="565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91">
                <a:solidFill>
                  <a:prstClr val="white"/>
                </a:solidFill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94767AD-6F14-465F-B141-A3B8B5C5270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74123" y="334964"/>
            <a:ext cx="900953" cy="816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6104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6865"/>
          <a:stretch/>
        </p:blipFill>
        <p:spPr>
          <a:xfrm>
            <a:off x="6950504" y="1"/>
            <a:ext cx="8168855" cy="10691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36508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61513" y="234525"/>
            <a:ext cx="2075774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91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23034" y="2"/>
            <a:ext cx="2075774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91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3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91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11905000" y="11"/>
            <a:ext cx="1352732" cy="1339448"/>
          </a:xfrm>
          <a:prstGeom prst="rt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91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3257738" y="11"/>
            <a:ext cx="1861620" cy="133944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5924" tIns="42963" rIns="85924" bIns="429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691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3480749" y="220281"/>
            <a:ext cx="1638602" cy="87677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91" b="1" dirty="0">
                <a:solidFill>
                  <a:srgbClr val="7A5D00"/>
                </a:solidFill>
              </a:rPr>
              <a:t>СМИ</a:t>
            </a:r>
          </a:p>
        </p:txBody>
      </p:sp>
    </p:spTree>
    <p:extLst>
      <p:ext uri="{BB962C8B-B14F-4D97-AF65-F5344CB8AC3E}">
        <p14:creationId xmlns:p14="http://schemas.microsoft.com/office/powerpoint/2010/main" val="78586915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61513" y="234525"/>
            <a:ext cx="2075774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91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23034" y="2"/>
            <a:ext cx="2075774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91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3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91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10761797" y="11"/>
            <a:ext cx="1352732" cy="1339448"/>
          </a:xfrm>
          <a:prstGeom prst="rtTriangle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91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2114535" y="11"/>
            <a:ext cx="3004823" cy="1339448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5924" tIns="42963" rIns="85924" bIns="429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691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2114536" y="220281"/>
            <a:ext cx="3004823" cy="876775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91" b="1" dirty="0">
                <a:solidFill>
                  <a:srgbClr val="565087"/>
                </a:solidFill>
              </a:rPr>
              <a:t>Мероприятия</a:t>
            </a:r>
          </a:p>
        </p:txBody>
      </p:sp>
    </p:spTree>
    <p:extLst>
      <p:ext uri="{BB962C8B-B14F-4D97-AF65-F5344CB8AC3E}">
        <p14:creationId xmlns:p14="http://schemas.microsoft.com/office/powerpoint/2010/main" val="110467182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61513" y="234525"/>
            <a:ext cx="2075774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91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23034" y="2"/>
            <a:ext cx="2075774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91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3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91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10290360" y="11"/>
            <a:ext cx="1352732" cy="1339448"/>
          </a:xfrm>
          <a:prstGeom prst="rtTriangle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91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1643097" y="11"/>
            <a:ext cx="3476261" cy="1339448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5924" tIns="42963" rIns="85924" bIns="429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691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1485952" y="220281"/>
            <a:ext cx="3633407" cy="876775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91" b="1" dirty="0">
                <a:solidFill>
                  <a:prstClr val="white"/>
                </a:solidFill>
              </a:rPr>
              <a:t>Социальные сети</a:t>
            </a:r>
          </a:p>
        </p:txBody>
      </p:sp>
    </p:spTree>
    <p:extLst>
      <p:ext uri="{BB962C8B-B14F-4D97-AF65-F5344CB8AC3E}">
        <p14:creationId xmlns:p14="http://schemas.microsoft.com/office/powerpoint/2010/main" val="29304781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297"/>
          <a:stretch/>
        </p:blipFill>
        <p:spPr>
          <a:xfrm>
            <a:off x="7501986" y="4837851"/>
            <a:ext cx="7617368" cy="5853973"/>
          </a:xfrm>
          <a:prstGeom prst="rect">
            <a:avLst/>
          </a:prstGeom>
        </p:spPr>
      </p:pic>
      <p:sp>
        <p:nvSpPr>
          <p:cNvPr id="4" name="Параллелограмм 3"/>
          <p:cNvSpPr/>
          <p:nvPr userDrawn="1"/>
        </p:nvSpPr>
        <p:spPr>
          <a:xfrm flipH="1">
            <a:off x="3495703" y="2"/>
            <a:ext cx="2933003" cy="2687688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91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 userDrawn="1"/>
        </p:nvSpPr>
        <p:spPr>
          <a:xfrm flipH="1">
            <a:off x="-961538" y="3592720"/>
            <a:ext cx="4261604" cy="4172110"/>
          </a:xfrm>
          <a:prstGeom prst="parallelogram">
            <a:avLst>
              <a:gd name="adj" fmla="val 95335"/>
            </a:avLst>
          </a:prstGeom>
          <a:solidFill>
            <a:srgbClr val="77B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91">
              <a:solidFill>
                <a:prstClr val="white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215279" y="3528468"/>
            <a:ext cx="8027766" cy="427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ru-RU" sz="2175" b="1" dirty="0">
                <a:solidFill>
                  <a:srgbClr val="3D284E"/>
                </a:solidFill>
              </a:rPr>
              <a:t>ПЛАНИРОВАНИЕ ИНФОРМАЦИОННОЙ РАБОТЫ</a:t>
            </a:r>
          </a:p>
        </p:txBody>
      </p:sp>
      <p:sp>
        <p:nvSpPr>
          <p:cNvPr id="10" name="Параллелограмм 9"/>
          <p:cNvSpPr/>
          <p:nvPr userDrawn="1"/>
        </p:nvSpPr>
        <p:spPr>
          <a:xfrm flipH="1">
            <a:off x="1364894" y="9307593"/>
            <a:ext cx="4261604" cy="417211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9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9363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569242"/>
            <a:ext cx="13040439" cy="206659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1426" y="2620980"/>
            <a:ext cx="6396193" cy="1284502"/>
          </a:xfrm>
        </p:spPr>
        <p:txBody>
          <a:bodyPr anchor="b"/>
          <a:lstStyle>
            <a:lvl1pPr marL="0" indent="0">
              <a:buNone/>
              <a:defRPr sz="3742" b="1"/>
            </a:lvl1pPr>
            <a:lvl2pPr marL="712775" indent="0">
              <a:buNone/>
              <a:defRPr sz="3118" b="1"/>
            </a:lvl2pPr>
            <a:lvl3pPr marL="1425550" indent="0">
              <a:buNone/>
              <a:defRPr sz="2806" b="1"/>
            </a:lvl3pPr>
            <a:lvl4pPr marL="2138324" indent="0">
              <a:buNone/>
              <a:defRPr sz="2494" b="1"/>
            </a:lvl4pPr>
            <a:lvl5pPr marL="2851099" indent="0">
              <a:buNone/>
              <a:defRPr sz="2494" b="1"/>
            </a:lvl5pPr>
            <a:lvl6pPr marL="3563874" indent="0">
              <a:buNone/>
              <a:defRPr sz="2494" b="1"/>
            </a:lvl6pPr>
            <a:lvl7pPr marL="4276649" indent="0">
              <a:buNone/>
              <a:defRPr sz="2494" b="1"/>
            </a:lvl7pPr>
            <a:lvl8pPr marL="4989424" indent="0">
              <a:buNone/>
              <a:defRPr sz="2494" b="1"/>
            </a:lvl8pPr>
            <a:lvl9pPr marL="5702198" indent="0">
              <a:buNone/>
              <a:defRPr sz="249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41426" y="3905482"/>
            <a:ext cx="6396193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654172" y="2620980"/>
            <a:ext cx="6427693" cy="1284502"/>
          </a:xfrm>
        </p:spPr>
        <p:txBody>
          <a:bodyPr anchor="b"/>
          <a:lstStyle>
            <a:lvl1pPr marL="0" indent="0">
              <a:buNone/>
              <a:defRPr sz="3742" b="1"/>
            </a:lvl1pPr>
            <a:lvl2pPr marL="712775" indent="0">
              <a:buNone/>
              <a:defRPr sz="3118" b="1"/>
            </a:lvl2pPr>
            <a:lvl3pPr marL="1425550" indent="0">
              <a:buNone/>
              <a:defRPr sz="2806" b="1"/>
            </a:lvl3pPr>
            <a:lvl4pPr marL="2138324" indent="0">
              <a:buNone/>
              <a:defRPr sz="2494" b="1"/>
            </a:lvl4pPr>
            <a:lvl5pPr marL="2851099" indent="0">
              <a:buNone/>
              <a:defRPr sz="2494" b="1"/>
            </a:lvl5pPr>
            <a:lvl6pPr marL="3563874" indent="0">
              <a:buNone/>
              <a:defRPr sz="2494" b="1"/>
            </a:lvl6pPr>
            <a:lvl7pPr marL="4276649" indent="0">
              <a:buNone/>
              <a:defRPr sz="2494" b="1"/>
            </a:lvl7pPr>
            <a:lvl8pPr marL="4989424" indent="0">
              <a:buNone/>
              <a:defRPr sz="2494" b="1"/>
            </a:lvl8pPr>
            <a:lvl9pPr marL="5702198" indent="0">
              <a:buNone/>
              <a:defRPr sz="249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654172" y="3905482"/>
            <a:ext cx="6427693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1541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483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8310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712788"/>
            <a:ext cx="4876384" cy="2494756"/>
          </a:xfrm>
        </p:spPr>
        <p:txBody>
          <a:bodyPr anchor="b"/>
          <a:lstStyle>
            <a:lvl1pPr>
              <a:defRPr sz="498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27693" y="1539425"/>
            <a:ext cx="7654171" cy="7598117"/>
          </a:xfrm>
        </p:spPr>
        <p:txBody>
          <a:bodyPr/>
          <a:lstStyle>
            <a:lvl1pPr>
              <a:defRPr sz="4989"/>
            </a:lvl1pPr>
            <a:lvl2pPr>
              <a:defRPr sz="4365"/>
            </a:lvl2pPr>
            <a:lvl3pPr>
              <a:defRPr sz="3742"/>
            </a:lvl3pPr>
            <a:lvl4pPr>
              <a:defRPr sz="3118"/>
            </a:lvl4pPr>
            <a:lvl5pPr>
              <a:defRPr sz="3118"/>
            </a:lvl5pPr>
            <a:lvl6pPr>
              <a:defRPr sz="3118"/>
            </a:lvl6pPr>
            <a:lvl7pPr>
              <a:defRPr sz="3118"/>
            </a:lvl7pPr>
            <a:lvl8pPr>
              <a:defRPr sz="3118"/>
            </a:lvl8pPr>
            <a:lvl9pPr>
              <a:defRPr sz="3118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41425" y="3207544"/>
            <a:ext cx="4876384" cy="5942372"/>
          </a:xfrm>
        </p:spPr>
        <p:txBody>
          <a:bodyPr/>
          <a:lstStyle>
            <a:lvl1pPr marL="0" indent="0">
              <a:buNone/>
              <a:defRPr sz="2494"/>
            </a:lvl1pPr>
            <a:lvl2pPr marL="712775" indent="0">
              <a:buNone/>
              <a:defRPr sz="2183"/>
            </a:lvl2pPr>
            <a:lvl3pPr marL="1425550" indent="0">
              <a:buNone/>
              <a:defRPr sz="1871"/>
            </a:lvl3pPr>
            <a:lvl4pPr marL="2138324" indent="0">
              <a:buNone/>
              <a:defRPr sz="1559"/>
            </a:lvl4pPr>
            <a:lvl5pPr marL="2851099" indent="0">
              <a:buNone/>
              <a:defRPr sz="1559"/>
            </a:lvl5pPr>
            <a:lvl6pPr marL="3563874" indent="0">
              <a:buNone/>
              <a:defRPr sz="1559"/>
            </a:lvl6pPr>
            <a:lvl7pPr marL="4276649" indent="0">
              <a:buNone/>
              <a:defRPr sz="1559"/>
            </a:lvl7pPr>
            <a:lvl8pPr marL="4989424" indent="0">
              <a:buNone/>
              <a:defRPr sz="1559"/>
            </a:lvl8pPr>
            <a:lvl9pPr marL="5702198" indent="0">
              <a:buNone/>
              <a:defRPr sz="155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94362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712788"/>
            <a:ext cx="4876384" cy="2494756"/>
          </a:xfrm>
        </p:spPr>
        <p:txBody>
          <a:bodyPr anchor="b"/>
          <a:lstStyle>
            <a:lvl1pPr>
              <a:defRPr sz="498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427693" y="1539425"/>
            <a:ext cx="7654171" cy="7598117"/>
          </a:xfrm>
        </p:spPr>
        <p:txBody>
          <a:bodyPr anchor="t"/>
          <a:lstStyle>
            <a:lvl1pPr marL="0" indent="0">
              <a:buNone/>
              <a:defRPr sz="4989"/>
            </a:lvl1pPr>
            <a:lvl2pPr marL="712775" indent="0">
              <a:buNone/>
              <a:defRPr sz="4365"/>
            </a:lvl2pPr>
            <a:lvl3pPr marL="1425550" indent="0">
              <a:buNone/>
              <a:defRPr sz="3742"/>
            </a:lvl3pPr>
            <a:lvl4pPr marL="2138324" indent="0">
              <a:buNone/>
              <a:defRPr sz="3118"/>
            </a:lvl4pPr>
            <a:lvl5pPr marL="2851099" indent="0">
              <a:buNone/>
              <a:defRPr sz="3118"/>
            </a:lvl5pPr>
            <a:lvl6pPr marL="3563874" indent="0">
              <a:buNone/>
              <a:defRPr sz="3118"/>
            </a:lvl6pPr>
            <a:lvl7pPr marL="4276649" indent="0">
              <a:buNone/>
              <a:defRPr sz="3118"/>
            </a:lvl7pPr>
            <a:lvl8pPr marL="4989424" indent="0">
              <a:buNone/>
              <a:defRPr sz="3118"/>
            </a:lvl8pPr>
            <a:lvl9pPr marL="5702198" indent="0">
              <a:buNone/>
              <a:defRPr sz="3118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41425" y="3207544"/>
            <a:ext cx="4876384" cy="5942372"/>
          </a:xfrm>
        </p:spPr>
        <p:txBody>
          <a:bodyPr/>
          <a:lstStyle>
            <a:lvl1pPr marL="0" indent="0">
              <a:buNone/>
              <a:defRPr sz="2494"/>
            </a:lvl1pPr>
            <a:lvl2pPr marL="712775" indent="0">
              <a:buNone/>
              <a:defRPr sz="2183"/>
            </a:lvl2pPr>
            <a:lvl3pPr marL="1425550" indent="0">
              <a:buNone/>
              <a:defRPr sz="1871"/>
            </a:lvl3pPr>
            <a:lvl4pPr marL="2138324" indent="0">
              <a:buNone/>
              <a:defRPr sz="1559"/>
            </a:lvl4pPr>
            <a:lvl5pPr marL="2851099" indent="0">
              <a:buNone/>
              <a:defRPr sz="1559"/>
            </a:lvl5pPr>
            <a:lvl6pPr marL="3563874" indent="0">
              <a:buNone/>
              <a:defRPr sz="1559"/>
            </a:lvl6pPr>
            <a:lvl7pPr marL="4276649" indent="0">
              <a:buNone/>
              <a:defRPr sz="1559"/>
            </a:lvl7pPr>
            <a:lvl8pPr marL="4989424" indent="0">
              <a:buNone/>
              <a:defRPr sz="1559"/>
            </a:lvl8pPr>
            <a:lvl9pPr marL="5702198" indent="0">
              <a:buNone/>
              <a:defRPr sz="155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1620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4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19" Type="http://schemas.openxmlformats.org/officeDocument/2006/relationships/vmlDrawing" Target="../drawings/vmlDrawing2.v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39456" y="569242"/>
            <a:ext cx="13040439" cy="20665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9456" y="2846200"/>
            <a:ext cx="13040439" cy="67838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9455" y="9909729"/>
            <a:ext cx="340185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08285" y="9909729"/>
            <a:ext cx="5102781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78041" y="9909729"/>
            <a:ext cx="340185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518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24" r:id="rId13"/>
    <p:sldLayoutId id="2147483741" r:id="rId14"/>
  </p:sldLayoutIdLst>
  <p:txStyles>
    <p:titleStyle>
      <a:lvl1pPr algn="l" defTabSz="1425550" rtl="0" eaLnBrk="1" latinLnBrk="0" hangingPunct="1">
        <a:lnSpc>
          <a:spcPct val="90000"/>
        </a:lnSpc>
        <a:spcBef>
          <a:spcPct val="0"/>
        </a:spcBef>
        <a:buNone/>
        <a:defRPr sz="68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6387" indent="-356387" algn="l" defTabSz="1425550" rtl="0" eaLnBrk="1" latinLnBrk="0" hangingPunct="1">
        <a:lnSpc>
          <a:spcPct val="90000"/>
        </a:lnSpc>
        <a:spcBef>
          <a:spcPts val="1559"/>
        </a:spcBef>
        <a:buFont typeface="Arial" panose="020B0604020202020204" pitchFamily="34" charset="0"/>
        <a:buChar char="•"/>
        <a:defRPr sz="4365" kern="1200">
          <a:solidFill>
            <a:schemeClr val="tx1"/>
          </a:solidFill>
          <a:latin typeface="+mn-lt"/>
          <a:ea typeface="+mn-ea"/>
          <a:cs typeface="+mn-cs"/>
        </a:defRPr>
      </a:lvl1pPr>
      <a:lvl2pPr marL="106916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742" kern="1200">
          <a:solidFill>
            <a:schemeClr val="tx1"/>
          </a:solidFill>
          <a:latin typeface="+mn-lt"/>
          <a:ea typeface="+mn-ea"/>
          <a:cs typeface="+mn-cs"/>
        </a:defRPr>
      </a:lvl2pPr>
      <a:lvl3pPr marL="178193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3pPr>
      <a:lvl4pPr marL="249471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320748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92026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63303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534581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605858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1pPr>
      <a:lvl2pPr marL="712775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2pPr>
      <a:lvl3pPr marL="142555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3pPr>
      <a:lvl4pPr marL="21383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285109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56387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27664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49894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5702198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39456" y="569242"/>
            <a:ext cx="13040439" cy="20665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9456" y="2846200"/>
            <a:ext cx="13040439" cy="67838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9455" y="9909729"/>
            <a:ext cx="340185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10/1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08285" y="9909729"/>
            <a:ext cx="5102781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78041" y="9909729"/>
            <a:ext cx="340185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Object 1" hidden="1">
            <a:extLst>
              <a:ext uri="{FF2B5EF4-FFF2-40B4-BE49-F238E27FC236}">
                <a16:creationId xmlns:a16="http://schemas.microsoft.com/office/drawing/2014/main" id="{0F965F44-8AE5-201B-AA20-8EEA05BF5E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803306847"/>
              </p:ext>
            </p:extLst>
          </p:nvPr>
        </p:nvGraphicFramePr>
        <p:xfrm>
          <a:off x="2383" y="2361"/>
          <a:ext cx="2381" cy="23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1" imgW="473" imgH="476" progId="TCLayout.ActiveDocument.1">
                  <p:embed/>
                </p:oleObj>
              </mc:Choice>
              <mc:Fallback>
                <p:oleObj name="think-cell Slide" r:id="rId21" imgW="473" imgH="476" progId="TCLayout.ActiveDocument.1">
                  <p:embed/>
                  <p:pic>
                    <p:nvPicPr>
                      <p:cNvPr id="7" name="Object 1" hidden="1">
                        <a:extLst>
                          <a:ext uri="{FF2B5EF4-FFF2-40B4-BE49-F238E27FC236}">
                            <a16:creationId xmlns:a16="http://schemas.microsoft.com/office/drawing/2014/main" id="{2F748563-03E9-41A8-A6E7-4A74CBEB3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383" y="2361"/>
                        <a:ext cx="2381" cy="23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63731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  <p:sldLayoutId id="2147483733" r:id="rId13"/>
    <p:sldLayoutId id="2147483735" r:id="rId14"/>
    <p:sldLayoutId id="2147483736" r:id="rId15"/>
    <p:sldLayoutId id="2147483737" r:id="rId16"/>
    <p:sldLayoutId id="2147483738" r:id="rId17"/>
  </p:sldLayoutIdLst>
  <p:txStyles>
    <p:titleStyle>
      <a:lvl1pPr algn="l" defTabSz="1425550" rtl="0" eaLnBrk="1" latinLnBrk="0" hangingPunct="1">
        <a:lnSpc>
          <a:spcPct val="90000"/>
        </a:lnSpc>
        <a:spcBef>
          <a:spcPct val="0"/>
        </a:spcBef>
        <a:buNone/>
        <a:defRPr sz="68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6387" indent="-356387" algn="l" defTabSz="1425550" rtl="0" eaLnBrk="1" latinLnBrk="0" hangingPunct="1">
        <a:lnSpc>
          <a:spcPct val="90000"/>
        </a:lnSpc>
        <a:spcBef>
          <a:spcPts val="1559"/>
        </a:spcBef>
        <a:buFont typeface="Arial" panose="020B0604020202020204" pitchFamily="34" charset="0"/>
        <a:buChar char="•"/>
        <a:defRPr sz="4365" kern="1200">
          <a:solidFill>
            <a:schemeClr val="tx1"/>
          </a:solidFill>
          <a:latin typeface="+mn-lt"/>
          <a:ea typeface="+mn-ea"/>
          <a:cs typeface="+mn-cs"/>
        </a:defRPr>
      </a:lvl1pPr>
      <a:lvl2pPr marL="106916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742" kern="1200">
          <a:solidFill>
            <a:schemeClr val="tx1"/>
          </a:solidFill>
          <a:latin typeface="+mn-lt"/>
          <a:ea typeface="+mn-ea"/>
          <a:cs typeface="+mn-cs"/>
        </a:defRPr>
      </a:lvl2pPr>
      <a:lvl3pPr marL="178193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3pPr>
      <a:lvl4pPr marL="249471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320748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92026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63303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534581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605858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1pPr>
      <a:lvl2pPr marL="712775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2pPr>
      <a:lvl3pPr marL="142555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3pPr>
      <a:lvl4pPr marL="21383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285109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56387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27664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49894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5702198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39457" y="569242"/>
            <a:ext cx="13040439" cy="20665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9457" y="2846200"/>
            <a:ext cx="13040439" cy="67838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9455" y="9909729"/>
            <a:ext cx="340185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8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08286" y="9909729"/>
            <a:ext cx="5102781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8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78041" y="9909729"/>
            <a:ext cx="340185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8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Object 1" hidden="1">
            <a:extLst>
              <a:ext uri="{FF2B5EF4-FFF2-40B4-BE49-F238E27FC236}">
                <a16:creationId xmlns:a16="http://schemas.microsoft.com/office/drawing/2014/main" id="{0F965F44-8AE5-201B-AA20-8EEA05BF5E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803306847"/>
              </p:ext>
            </p:extLst>
          </p:nvPr>
        </p:nvGraphicFramePr>
        <p:xfrm>
          <a:off x="2383" y="2362"/>
          <a:ext cx="2381" cy="23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21" imgW="473" imgH="476" progId="TCLayout.ActiveDocument.1">
                  <p:embed/>
                </p:oleObj>
              </mc:Choice>
              <mc:Fallback>
                <p:oleObj name="think-cell Slide" r:id="rId21" imgW="473" imgH="476" progId="TCLayout.ActiveDocument.1">
                  <p:embed/>
                  <p:pic>
                    <p:nvPicPr>
                      <p:cNvPr id="7" name="Object 1" hidden="1">
                        <a:extLst>
                          <a:ext uri="{FF2B5EF4-FFF2-40B4-BE49-F238E27FC236}">
                            <a16:creationId xmlns:a16="http://schemas.microsoft.com/office/drawing/2014/main" id="{0F965F44-8AE5-201B-AA20-8EEA05BF5E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383" y="2362"/>
                        <a:ext cx="2381" cy="23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57979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7" r:id="rId12"/>
    <p:sldLayoutId id="2147483838" r:id="rId13"/>
    <p:sldLayoutId id="2147483839" r:id="rId14"/>
    <p:sldLayoutId id="2147483840" r:id="rId15"/>
    <p:sldLayoutId id="2147483841" r:id="rId16"/>
    <p:sldLayoutId id="2147483842" r:id="rId17"/>
  </p:sldLayoutIdLst>
  <p:hf hdr="0" dt="0"/>
  <p:txStyles>
    <p:titleStyle>
      <a:lvl1pPr algn="l" defTabSz="1133883" rtl="0" eaLnBrk="1" latinLnBrk="0" hangingPunct="1">
        <a:lnSpc>
          <a:spcPct val="90000"/>
        </a:lnSpc>
        <a:spcBef>
          <a:spcPct val="0"/>
        </a:spcBef>
        <a:buNone/>
        <a:defRPr sz="545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3471" indent="-283471" algn="l" defTabSz="1133883" rtl="0" eaLnBrk="1" latinLnBrk="0" hangingPunct="1">
        <a:lnSpc>
          <a:spcPct val="90000"/>
        </a:lnSpc>
        <a:spcBef>
          <a:spcPts val="1240"/>
        </a:spcBef>
        <a:buFont typeface="Arial" panose="020B0604020202020204" pitchFamily="34" charset="0"/>
        <a:buChar char="•"/>
        <a:defRPr sz="3472" kern="1200">
          <a:solidFill>
            <a:schemeClr val="tx1"/>
          </a:solidFill>
          <a:latin typeface="+mn-lt"/>
          <a:ea typeface="+mn-ea"/>
          <a:cs typeface="+mn-cs"/>
        </a:defRPr>
      </a:lvl1pPr>
      <a:lvl2pPr marL="850412" indent="-283471" algn="l" defTabSz="1133883" rtl="0" eaLnBrk="1" latinLnBrk="0" hangingPunct="1">
        <a:lnSpc>
          <a:spcPct val="90000"/>
        </a:lnSpc>
        <a:spcBef>
          <a:spcPts val="620"/>
        </a:spcBef>
        <a:buFont typeface="Arial" panose="020B0604020202020204" pitchFamily="34" charset="0"/>
        <a:buChar char="•"/>
        <a:defRPr sz="2976" kern="1200">
          <a:solidFill>
            <a:schemeClr val="tx1"/>
          </a:solidFill>
          <a:latin typeface="+mn-lt"/>
          <a:ea typeface="+mn-ea"/>
          <a:cs typeface="+mn-cs"/>
        </a:defRPr>
      </a:lvl2pPr>
      <a:lvl3pPr marL="1417352" indent="-283471" algn="l" defTabSz="1133883" rtl="0" eaLnBrk="1" latinLnBrk="0" hangingPunct="1">
        <a:lnSpc>
          <a:spcPct val="90000"/>
        </a:lnSpc>
        <a:spcBef>
          <a:spcPts val="620"/>
        </a:spcBef>
        <a:buFont typeface="Arial" panose="020B0604020202020204" pitchFamily="34" charset="0"/>
        <a:buChar char="•"/>
        <a:defRPr sz="2480" kern="1200">
          <a:solidFill>
            <a:schemeClr val="tx1"/>
          </a:solidFill>
          <a:latin typeface="+mn-lt"/>
          <a:ea typeface="+mn-ea"/>
          <a:cs typeface="+mn-cs"/>
        </a:defRPr>
      </a:lvl3pPr>
      <a:lvl4pPr marL="1984294" indent="-283471" algn="l" defTabSz="1133883" rtl="0" eaLnBrk="1" latinLnBrk="0" hangingPunct="1">
        <a:lnSpc>
          <a:spcPct val="90000"/>
        </a:lnSpc>
        <a:spcBef>
          <a:spcPts val="620"/>
        </a:spcBef>
        <a:buFont typeface="Arial" panose="020B0604020202020204" pitchFamily="34" charset="0"/>
        <a:buChar char="•"/>
        <a:defRPr sz="2232" kern="1200">
          <a:solidFill>
            <a:schemeClr val="tx1"/>
          </a:solidFill>
          <a:latin typeface="+mn-lt"/>
          <a:ea typeface="+mn-ea"/>
          <a:cs typeface="+mn-cs"/>
        </a:defRPr>
      </a:lvl4pPr>
      <a:lvl5pPr marL="2551235" indent="-283471" algn="l" defTabSz="1133883" rtl="0" eaLnBrk="1" latinLnBrk="0" hangingPunct="1">
        <a:lnSpc>
          <a:spcPct val="90000"/>
        </a:lnSpc>
        <a:spcBef>
          <a:spcPts val="620"/>
        </a:spcBef>
        <a:buFont typeface="Arial" panose="020B0604020202020204" pitchFamily="34" charset="0"/>
        <a:buChar char="•"/>
        <a:defRPr sz="2232" kern="1200">
          <a:solidFill>
            <a:schemeClr val="tx1"/>
          </a:solidFill>
          <a:latin typeface="+mn-lt"/>
          <a:ea typeface="+mn-ea"/>
          <a:cs typeface="+mn-cs"/>
        </a:defRPr>
      </a:lvl5pPr>
      <a:lvl6pPr marL="3118176" indent="-283471" algn="l" defTabSz="1133883" rtl="0" eaLnBrk="1" latinLnBrk="0" hangingPunct="1">
        <a:lnSpc>
          <a:spcPct val="90000"/>
        </a:lnSpc>
        <a:spcBef>
          <a:spcPts val="620"/>
        </a:spcBef>
        <a:buFont typeface="Arial" panose="020B0604020202020204" pitchFamily="34" charset="0"/>
        <a:buChar char="•"/>
        <a:defRPr sz="2232" kern="1200">
          <a:solidFill>
            <a:schemeClr val="tx1"/>
          </a:solidFill>
          <a:latin typeface="+mn-lt"/>
          <a:ea typeface="+mn-ea"/>
          <a:cs typeface="+mn-cs"/>
        </a:defRPr>
      </a:lvl6pPr>
      <a:lvl7pPr marL="3685117" indent="-283471" algn="l" defTabSz="1133883" rtl="0" eaLnBrk="1" latinLnBrk="0" hangingPunct="1">
        <a:lnSpc>
          <a:spcPct val="90000"/>
        </a:lnSpc>
        <a:spcBef>
          <a:spcPts val="620"/>
        </a:spcBef>
        <a:buFont typeface="Arial" panose="020B0604020202020204" pitchFamily="34" charset="0"/>
        <a:buChar char="•"/>
        <a:defRPr sz="2232" kern="1200">
          <a:solidFill>
            <a:schemeClr val="tx1"/>
          </a:solidFill>
          <a:latin typeface="+mn-lt"/>
          <a:ea typeface="+mn-ea"/>
          <a:cs typeface="+mn-cs"/>
        </a:defRPr>
      </a:lvl7pPr>
      <a:lvl8pPr marL="4252059" indent="-283471" algn="l" defTabSz="1133883" rtl="0" eaLnBrk="1" latinLnBrk="0" hangingPunct="1">
        <a:lnSpc>
          <a:spcPct val="90000"/>
        </a:lnSpc>
        <a:spcBef>
          <a:spcPts val="620"/>
        </a:spcBef>
        <a:buFont typeface="Arial" panose="020B0604020202020204" pitchFamily="34" charset="0"/>
        <a:buChar char="•"/>
        <a:defRPr sz="2232" kern="1200">
          <a:solidFill>
            <a:schemeClr val="tx1"/>
          </a:solidFill>
          <a:latin typeface="+mn-lt"/>
          <a:ea typeface="+mn-ea"/>
          <a:cs typeface="+mn-cs"/>
        </a:defRPr>
      </a:lvl8pPr>
      <a:lvl9pPr marL="4819000" indent="-283471" algn="l" defTabSz="1133883" rtl="0" eaLnBrk="1" latinLnBrk="0" hangingPunct="1">
        <a:lnSpc>
          <a:spcPct val="90000"/>
        </a:lnSpc>
        <a:spcBef>
          <a:spcPts val="620"/>
        </a:spcBef>
        <a:buFont typeface="Arial" panose="020B0604020202020204" pitchFamily="34" charset="0"/>
        <a:buChar char="•"/>
        <a:defRPr sz="223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33883" rtl="0" eaLnBrk="1" latinLnBrk="0" hangingPunct="1">
        <a:defRPr sz="2232" kern="1200">
          <a:solidFill>
            <a:schemeClr val="tx1"/>
          </a:solidFill>
          <a:latin typeface="+mn-lt"/>
          <a:ea typeface="+mn-ea"/>
          <a:cs typeface="+mn-cs"/>
        </a:defRPr>
      </a:lvl1pPr>
      <a:lvl2pPr marL="566941" algn="l" defTabSz="1133883" rtl="0" eaLnBrk="1" latinLnBrk="0" hangingPunct="1">
        <a:defRPr sz="2232" kern="1200">
          <a:solidFill>
            <a:schemeClr val="tx1"/>
          </a:solidFill>
          <a:latin typeface="+mn-lt"/>
          <a:ea typeface="+mn-ea"/>
          <a:cs typeface="+mn-cs"/>
        </a:defRPr>
      </a:lvl2pPr>
      <a:lvl3pPr marL="1133883" algn="l" defTabSz="1133883" rtl="0" eaLnBrk="1" latinLnBrk="0" hangingPunct="1">
        <a:defRPr sz="2232" kern="1200">
          <a:solidFill>
            <a:schemeClr val="tx1"/>
          </a:solidFill>
          <a:latin typeface="+mn-lt"/>
          <a:ea typeface="+mn-ea"/>
          <a:cs typeface="+mn-cs"/>
        </a:defRPr>
      </a:lvl3pPr>
      <a:lvl4pPr marL="1700823" algn="l" defTabSz="1133883" rtl="0" eaLnBrk="1" latinLnBrk="0" hangingPunct="1">
        <a:defRPr sz="2232" kern="1200">
          <a:solidFill>
            <a:schemeClr val="tx1"/>
          </a:solidFill>
          <a:latin typeface="+mn-lt"/>
          <a:ea typeface="+mn-ea"/>
          <a:cs typeface="+mn-cs"/>
        </a:defRPr>
      </a:lvl4pPr>
      <a:lvl5pPr marL="2267765" algn="l" defTabSz="1133883" rtl="0" eaLnBrk="1" latinLnBrk="0" hangingPunct="1">
        <a:defRPr sz="2232" kern="1200">
          <a:solidFill>
            <a:schemeClr val="tx1"/>
          </a:solidFill>
          <a:latin typeface="+mn-lt"/>
          <a:ea typeface="+mn-ea"/>
          <a:cs typeface="+mn-cs"/>
        </a:defRPr>
      </a:lvl5pPr>
      <a:lvl6pPr marL="2834706" algn="l" defTabSz="1133883" rtl="0" eaLnBrk="1" latinLnBrk="0" hangingPunct="1">
        <a:defRPr sz="2232" kern="1200">
          <a:solidFill>
            <a:schemeClr val="tx1"/>
          </a:solidFill>
          <a:latin typeface="+mn-lt"/>
          <a:ea typeface="+mn-ea"/>
          <a:cs typeface="+mn-cs"/>
        </a:defRPr>
      </a:lvl6pPr>
      <a:lvl7pPr marL="3401648" algn="l" defTabSz="1133883" rtl="0" eaLnBrk="1" latinLnBrk="0" hangingPunct="1">
        <a:defRPr sz="2232" kern="1200">
          <a:solidFill>
            <a:schemeClr val="tx1"/>
          </a:solidFill>
          <a:latin typeface="+mn-lt"/>
          <a:ea typeface="+mn-ea"/>
          <a:cs typeface="+mn-cs"/>
        </a:defRPr>
      </a:lvl7pPr>
      <a:lvl8pPr marL="3968589" algn="l" defTabSz="1133883" rtl="0" eaLnBrk="1" latinLnBrk="0" hangingPunct="1">
        <a:defRPr sz="2232" kern="1200">
          <a:solidFill>
            <a:schemeClr val="tx1"/>
          </a:solidFill>
          <a:latin typeface="+mn-lt"/>
          <a:ea typeface="+mn-ea"/>
          <a:cs typeface="+mn-cs"/>
        </a:defRPr>
      </a:lvl8pPr>
      <a:lvl9pPr marL="4535529" algn="l" defTabSz="1133883" rtl="0" eaLnBrk="1" latinLnBrk="0" hangingPunct="1">
        <a:defRPr sz="223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diagramLayout" Target="../diagrams/layout4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12" Type="http://schemas.openxmlformats.org/officeDocument/2006/relationships/diagramData" Target="../diagrams/data4.xml"/><Relationship Id="rId2" Type="http://schemas.openxmlformats.org/officeDocument/2006/relationships/diagramData" Target="../diagrams/data2.xml"/><Relationship Id="rId16" Type="http://schemas.microsoft.com/office/2007/relationships/diagramDrawing" Target="../diagrams/drawing4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5" Type="http://schemas.openxmlformats.org/officeDocument/2006/relationships/diagramColors" Target="../diagrams/colors4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Relationship Id="rId14" Type="http://schemas.openxmlformats.org/officeDocument/2006/relationships/diagramQuickStyle" Target="../diagrams/quickStyle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0.xml"/><Relationship Id="rId3" Type="http://schemas.openxmlformats.org/officeDocument/2006/relationships/diagramLayout" Target="../diagrams/layout9.xml"/><Relationship Id="rId7" Type="http://schemas.openxmlformats.org/officeDocument/2006/relationships/diagramData" Target="../diagrams/data10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9.xml"/><Relationship Id="rId11" Type="http://schemas.microsoft.com/office/2007/relationships/diagramDrawing" Target="../diagrams/drawing10.xml"/><Relationship Id="rId5" Type="http://schemas.openxmlformats.org/officeDocument/2006/relationships/diagramColors" Target="../diagrams/colors9.xml"/><Relationship Id="rId10" Type="http://schemas.openxmlformats.org/officeDocument/2006/relationships/diagramColors" Target="../diagrams/colors10.xml"/><Relationship Id="rId4" Type="http://schemas.openxmlformats.org/officeDocument/2006/relationships/diagramQuickStyle" Target="../diagrams/quickStyle9.xml"/><Relationship Id="rId9" Type="http://schemas.openxmlformats.org/officeDocument/2006/relationships/diagramQuickStyle" Target="../diagrams/quickStyle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9.emf"/><Relationship Id="rId4" Type="http://schemas.openxmlformats.org/officeDocument/2006/relationships/image" Target="../media/image18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/>
        </p:nvSpPr>
        <p:spPr>
          <a:xfrm>
            <a:off x="1052532" y="4347481"/>
            <a:ext cx="7917296" cy="33547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ctr">
            <a:spAutoFit/>
          </a:bodyPr>
          <a:lstStyle/>
          <a:p>
            <a:r>
              <a:rPr lang="ru-RU" sz="3600" b="1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Я ПО СНИЖЕНИЮ БЮРОКРАТИЧЕСКОЙ  НАГРУЗКИ В СИСТЕМЕ ОБРАЗОВАНИЯ</a:t>
            </a:r>
          </a:p>
          <a:p>
            <a:endParaRPr lang="ru-RU" sz="4400" b="1" dirty="0">
              <a:solidFill>
                <a:srgbClr val="3D284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b="1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тыникова Наталья Васильевна,</a:t>
            </a:r>
          </a:p>
          <a:p>
            <a:r>
              <a:rPr lang="ru-RU" sz="2000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тник руководителя Рособрнадзора, директор по развитию ГК «Просвещение»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0960" y="1663059"/>
            <a:ext cx="2136626" cy="1935349"/>
          </a:xfrm>
          <a:prstGeom prst="rect">
            <a:avLst/>
          </a:prstGeom>
        </p:spPr>
      </p:pic>
      <p:sp>
        <p:nvSpPr>
          <p:cNvPr id="9" name="Параллелограмм 8"/>
          <p:cNvSpPr/>
          <p:nvPr/>
        </p:nvSpPr>
        <p:spPr>
          <a:xfrm flipH="1">
            <a:off x="-764739" y="7205470"/>
            <a:ext cx="2451688" cy="2284219"/>
          </a:xfrm>
          <a:prstGeom prst="parallelogram">
            <a:avLst>
              <a:gd name="adj" fmla="val 90550"/>
            </a:avLst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4429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1832973" y="1381942"/>
            <a:ext cx="10252291" cy="8556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960" b="1" dirty="0">
                <a:solidFill>
                  <a:srgbClr val="423D67"/>
                </a:solidFill>
              </a:rPr>
              <a:t>ДОКУМЕНТАЦИЯ ВОСПИТАТЕЛЯ  </a:t>
            </a:r>
          </a:p>
        </p:txBody>
      </p:sp>
      <p:graphicFrame>
        <p:nvGraphicFramePr>
          <p:cNvPr id="3" name="Объект 3">
            <a:extLst>
              <a:ext uri="{FF2B5EF4-FFF2-40B4-BE49-F238E27FC236}">
                <a16:creationId xmlns:a16="http://schemas.microsoft.com/office/drawing/2014/main" id="{39FDC4CC-4EA3-8393-ABB6-D3058CA26CE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9791796"/>
              </p:ext>
            </p:extLst>
          </p:nvPr>
        </p:nvGraphicFramePr>
        <p:xfrm>
          <a:off x="166762" y="2840281"/>
          <a:ext cx="7034733" cy="660852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1563">
                  <a:extLst>
                    <a:ext uri="{9D8B030D-6E8A-4147-A177-3AD203B41FA5}">
                      <a16:colId xmlns:a16="http://schemas.microsoft.com/office/drawing/2014/main" val="3619872456"/>
                    </a:ext>
                  </a:extLst>
                </a:gridCol>
                <a:gridCol w="5513067">
                  <a:extLst>
                    <a:ext uri="{9D8B030D-6E8A-4147-A177-3AD203B41FA5}">
                      <a16:colId xmlns:a16="http://schemas.microsoft.com/office/drawing/2014/main" val="204692504"/>
                    </a:ext>
                  </a:extLst>
                </a:gridCol>
                <a:gridCol w="1180103">
                  <a:extLst>
                    <a:ext uri="{9D8B030D-6E8A-4147-A177-3AD203B41FA5}">
                      <a16:colId xmlns:a16="http://schemas.microsoft.com/office/drawing/2014/main" val="443663958"/>
                    </a:ext>
                  </a:extLst>
                </a:gridCol>
              </a:tblGrid>
              <a:tr h="623673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№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</a:rPr>
                        <a:t>Документ</a:t>
                      </a:r>
                      <a:endParaRPr lang="ru-RU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воспитателей, заполняющих  </a:t>
                      </a: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1510078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Результаты мониторинга (заполняется два раза в год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81,21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8039389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лан воспитательно-образовательной работы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78,52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7947603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Табель посещаемост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77,72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302764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Сведения о родителях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76,80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7005686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5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ротоколы родительских собраний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74,82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4333498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6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Журнал посещаемости детей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74,56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183137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7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лан взаимодействия с родителями (законными представителями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72,21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880712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8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ерспективное планирование образовательной деятельност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72,13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8523397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9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Журнал утренний фильтр (указывается  температура и осмотр ребёнка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70,88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9629053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0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Комплексно-тематическое планирование образовательной деятельност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70,08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0827874"/>
                  </a:ext>
                </a:extLst>
              </a:tr>
              <a:tr h="446596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1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лан воспитательно-образовательной деятельности на летний оздоровительный период (ЛОП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67,93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17593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2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Тетрадь по самообразованию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65,04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5078730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3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лан взаимодействия с семьями на учебный год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62,57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0967625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4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Расписание непрерывной образовательной деятельности (НОД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62,52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593621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5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Журнал учёта использования бактерицидной лампы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62,22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7953232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6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аспорт группы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60,94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8387441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7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апка с доверенностями на лиц, имеющих право забирать ребенка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58,47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6398901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8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Режим дня детей (на тёплый и холодный периоды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56,16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7147151"/>
                  </a:ext>
                </a:extLst>
              </a:tr>
              <a:tr h="258000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9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Учебный план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53,88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2439119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0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лан работы по правилам дорожного движения (ПДД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8,70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531194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1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Договор родительского согласия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7,76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454337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2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апка с инструкциями по охране жизни и здоровья детей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6,72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246893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3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Социальный паспорт группы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5,67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6638207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4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Журнал индивидуальной работы с детьм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5,20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4347912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5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Журнал смены воды (указывается питьевой режим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4,96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7878605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6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Лист адаптации (для групп раннего возраста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4,38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4711077"/>
                  </a:ext>
                </a:extLst>
              </a:tr>
              <a:tr h="21055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7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Лист (</a:t>
                      </a:r>
                      <a:r>
                        <a:rPr lang="ru-RU" sz="1000" dirty="0" err="1">
                          <a:effectLst/>
                        </a:rPr>
                        <a:t>паспотрт</a:t>
                      </a:r>
                      <a:r>
                        <a:rPr lang="ru-RU" sz="1000" dirty="0">
                          <a:effectLst/>
                        </a:rPr>
                        <a:t>) здоровья детей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4,09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3074238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3454C73F-F2CC-AEE4-71C3-E680398923F1}"/>
              </a:ext>
            </a:extLst>
          </p:cNvPr>
          <p:cNvGraphicFramePr>
            <a:graphicFrameLocks noGrp="1"/>
          </p:cNvGraphicFramePr>
          <p:nvPr/>
        </p:nvGraphicFramePr>
        <p:xfrm>
          <a:off x="7423566" y="2840643"/>
          <a:ext cx="7529027" cy="669912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06564">
                  <a:extLst>
                    <a:ext uri="{9D8B030D-6E8A-4147-A177-3AD203B41FA5}">
                      <a16:colId xmlns:a16="http://schemas.microsoft.com/office/drawing/2014/main" val="1079184871"/>
                    </a:ext>
                  </a:extLst>
                </a:gridCol>
                <a:gridCol w="5982570">
                  <a:extLst>
                    <a:ext uri="{9D8B030D-6E8A-4147-A177-3AD203B41FA5}">
                      <a16:colId xmlns:a16="http://schemas.microsoft.com/office/drawing/2014/main" val="1849455953"/>
                    </a:ext>
                  </a:extLst>
                </a:gridCol>
                <a:gridCol w="1139893">
                  <a:extLst>
                    <a:ext uri="{9D8B030D-6E8A-4147-A177-3AD203B41FA5}">
                      <a16:colId xmlns:a16="http://schemas.microsoft.com/office/drawing/2014/main" val="3641868477"/>
                    </a:ext>
                  </a:extLst>
                </a:gridCol>
              </a:tblGrid>
              <a:tr h="623673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№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</a:rPr>
                        <a:t>Документ</a:t>
                      </a:r>
                      <a:endParaRPr lang="ru-RU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воспитателей, заполняющих  </a:t>
                      </a:r>
                    </a:p>
                  </a:txBody>
                  <a:tcPr marL="28899" marR="28899" marT="0" marB="0"/>
                </a:tc>
                <a:extLst>
                  <a:ext uri="{0D108BD9-81ED-4DB2-BD59-A6C34878D82A}">
                    <a16:rowId xmlns:a16="http://schemas.microsoft.com/office/drawing/2014/main" val="1988528786"/>
                  </a:ext>
                </a:extLst>
              </a:tr>
              <a:tr h="237290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dirty="0">
                          <a:effectLst/>
                          <a:latin typeface="+mn-lt"/>
                        </a:rPr>
                        <a:t>28</a:t>
                      </a:r>
                      <a:endParaRPr lang="ru-RU" sz="11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рафик влажных уборок и проветривания </a:t>
                      </a: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,90%</a:t>
                      </a: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3272422244"/>
                  </a:ext>
                </a:extLst>
              </a:tr>
              <a:tr h="20340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</a:t>
                      </a: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Иные документы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1,25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1348437571"/>
                  </a:ext>
                </a:extLst>
              </a:tr>
              <a:tr h="20340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0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апка физкультурно-оздоровительной работы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39,36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131464154"/>
                  </a:ext>
                </a:extLst>
              </a:tr>
              <a:tr h="244855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1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Журнал обработки игрушек и игрового оборудования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9,35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3794067881"/>
                  </a:ext>
                </a:extLst>
              </a:tr>
              <a:tr h="20340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2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Журнал на карантин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8,14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1977402200"/>
                  </a:ext>
                </a:extLst>
              </a:tr>
              <a:tr h="20340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3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Журнал осмотра на педикулёз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7,62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4051748848"/>
                  </a:ext>
                </a:extLst>
              </a:tr>
              <a:tr h="20340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4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Журнал осмотра территории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7,49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2742448698"/>
                  </a:ext>
                </a:extLst>
              </a:tr>
              <a:tr h="20340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5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Лит посадки за столам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7,41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1752623357"/>
                  </a:ext>
                </a:extLst>
              </a:tr>
              <a:tr h="20340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6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Карта развития ребенка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6,17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3937619570"/>
                  </a:ext>
                </a:extLst>
              </a:tr>
              <a:tr h="20340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7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Журнал закаливания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5,98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880477019"/>
                  </a:ext>
                </a:extLst>
              </a:tr>
              <a:tr h="244855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8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Сведения о неблагополучных семьях, план работы с неблагополучными семьями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4,56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3414622441"/>
                  </a:ext>
                </a:extLst>
              </a:tr>
              <a:tr h="244855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</a:t>
                      </a: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Ежедневный режим двигательной активности в организованных видах деятельност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3,53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3273664238"/>
                  </a:ext>
                </a:extLst>
              </a:tr>
              <a:tr h="244855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</a:t>
                      </a: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Тетрадь осмотра кожи и зева детей (для групп раннего возраста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3,28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2781695495"/>
                  </a:ext>
                </a:extLst>
              </a:tr>
              <a:tr h="244855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1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Тетрадь стула детей (для групп раннего возраста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33,08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3448185951"/>
                  </a:ext>
                </a:extLst>
              </a:tr>
              <a:tr h="20340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2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Социально-демографические паспорта семей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32,56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2637513752"/>
                  </a:ext>
                </a:extLst>
              </a:tr>
              <a:tr h="20340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3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Положение о групповом родительском комитете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1,73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3160943443"/>
                  </a:ext>
                </a:extLst>
              </a:tr>
              <a:tr h="244855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4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лан взаимодействия с социальными партнерам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28,82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3727475660"/>
                  </a:ext>
                </a:extLst>
              </a:tr>
              <a:tr h="503511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5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Журнал взаимодействия воспитателя группы компенсирующей направленности со специалистами (учитель-логопед, музыкальный руководитель)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28,61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669943098"/>
                  </a:ext>
                </a:extLst>
              </a:tr>
              <a:tr h="20340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6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Протоколы заседаний родительских клубов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25,58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968092387"/>
                  </a:ext>
                </a:extLst>
              </a:tr>
              <a:tr h="244855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7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Безопасный маршрут «Дом-детский сад-дом (для старшей группы)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24,03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3517203527"/>
                  </a:ext>
                </a:extLst>
              </a:tr>
              <a:tr h="20340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8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План клубно – кружковой деятельности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23,33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2232373727"/>
                  </a:ext>
                </a:extLst>
              </a:tr>
              <a:tr h="244855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9</a:t>
                      </a: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Анкеты прогноза адаптации (для групп раннего возраста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23,12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2294266366"/>
                  </a:ext>
                </a:extLst>
              </a:tr>
              <a:tr h="20340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50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Дневник группы (для групп раннего возраста)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23,10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1250636593"/>
                  </a:ext>
                </a:extLst>
              </a:tr>
              <a:tr h="244855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51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Социально-биологический анамнез (анкета –опросник) (для групп раннего возраста)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17,74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3556060663"/>
                  </a:ext>
                </a:extLst>
              </a:tr>
              <a:tr h="244855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52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Карты нервно-психического развития (НПР) (для групп раннего возраста)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16,19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1438411791"/>
                  </a:ext>
                </a:extLst>
              </a:tr>
              <a:tr h="20340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53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Тетрадь посещений на дому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13,63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/>
                </a:tc>
                <a:extLst>
                  <a:ext uri="{0D108BD9-81ED-4DB2-BD59-A6C34878D82A}">
                    <a16:rowId xmlns:a16="http://schemas.microsoft.com/office/drawing/2014/main" val="928479790"/>
                  </a:ext>
                </a:extLst>
              </a:tr>
            </a:tbl>
          </a:graphicData>
        </a:graphic>
      </p:graphicFrame>
      <p:sp>
        <p:nvSpPr>
          <p:cNvPr id="5" name="Rectangle 1">
            <a:extLst>
              <a:ext uri="{FF2B5EF4-FFF2-40B4-BE49-F238E27FC236}">
                <a16:creationId xmlns:a16="http://schemas.microsoft.com/office/drawing/2014/main" id="{A2079C9B-3EAC-46FA-3EE5-E1B0D88216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3568" y="2823695"/>
            <a:ext cx="229069" cy="600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13395" tIns="56698" rIns="113395" bIns="56698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sz="3156"/>
          </a:p>
        </p:txBody>
      </p:sp>
    </p:spTree>
    <p:extLst>
      <p:ext uri="{BB962C8B-B14F-4D97-AF65-F5344CB8AC3E}">
        <p14:creationId xmlns:p14="http://schemas.microsoft.com/office/powerpoint/2010/main" val="30696138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1413337" y="447363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ДОКУМЕНТАЦИЯ ПРЕПОДАВАТЕЛЯ СПО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A06FCE-EA24-C2C7-2960-D9CEBF814F73}"/>
              </a:ext>
            </a:extLst>
          </p:cNvPr>
          <p:cNvSpPr txBox="1"/>
          <p:nvPr/>
        </p:nvSpPr>
        <p:spPr>
          <a:xfrm>
            <a:off x="4071257" y="8200119"/>
            <a:ext cx="5917774" cy="21236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600" b="1" dirty="0"/>
              <a:t>3 634</a:t>
            </a:r>
            <a:r>
              <a:rPr lang="ru-RU" sz="6600" dirty="0"/>
              <a:t> человек </a:t>
            </a:r>
          </a:p>
          <a:p>
            <a:r>
              <a:rPr lang="ru-RU" sz="6600" b="1" dirty="0"/>
              <a:t>58</a:t>
            </a:r>
            <a:r>
              <a:rPr lang="ru-RU" sz="6600" dirty="0"/>
              <a:t> регионов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F2057C4-6782-54A6-42B5-1D0E66A91D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784" y="2830286"/>
            <a:ext cx="12872003" cy="4669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3067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1413337" y="447363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ДОКУМЕНТАЦИЯ ПРЕПОДАВАТЕЛЯ СПО  </a:t>
            </a: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18FC5A33-C311-6DEA-507B-8DD838859E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0720177"/>
              </p:ext>
            </p:extLst>
          </p:nvPr>
        </p:nvGraphicFramePr>
        <p:xfrm>
          <a:off x="305139" y="1687286"/>
          <a:ext cx="7108032" cy="883179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38086">
                  <a:extLst>
                    <a:ext uri="{9D8B030D-6E8A-4147-A177-3AD203B41FA5}">
                      <a16:colId xmlns:a16="http://schemas.microsoft.com/office/drawing/2014/main" val="368960046"/>
                    </a:ext>
                  </a:extLst>
                </a:gridCol>
                <a:gridCol w="5443009">
                  <a:extLst>
                    <a:ext uri="{9D8B030D-6E8A-4147-A177-3AD203B41FA5}">
                      <a16:colId xmlns:a16="http://schemas.microsoft.com/office/drawing/2014/main" val="2721034797"/>
                    </a:ext>
                  </a:extLst>
                </a:gridCol>
                <a:gridCol w="1126937">
                  <a:extLst>
                    <a:ext uri="{9D8B030D-6E8A-4147-A177-3AD203B41FA5}">
                      <a16:colId xmlns:a16="http://schemas.microsoft.com/office/drawing/2014/main" val="1717893428"/>
                    </a:ext>
                  </a:extLst>
                </a:gridCol>
              </a:tblGrid>
              <a:tr h="139907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</a:t>
                      </a:r>
                      <a:r>
                        <a:rPr lang="en-US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effectLst/>
                        </a:rPr>
                        <a:t>Наименование документа</a:t>
                      </a:r>
                      <a:endParaRPr lang="ru-RU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effectLst/>
                        </a:rPr>
                        <a:t>Доля педагогов, заполняющих документ (%)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041648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бочая программа дисциплины (модуля) 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6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8836623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урнал учета успеваемости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6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9421299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Экзаменационная и (или) зачетная ведомости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5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7928711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ртфолио преподавателя, документы для аттестации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1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099877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алендарно-тематический план по учебному предмету (в т.ч. элективным курсам)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8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9739065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ы об успеваемости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8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6274024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урнал инструктажей по технике безопасности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2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4913421"/>
                  </a:ext>
                </a:extLst>
              </a:tr>
              <a:tr h="57172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нформация по итогам проведенных мероприятий, участии в акциях и др.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9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3316930"/>
                  </a:ext>
                </a:extLst>
              </a:tr>
              <a:tr h="56544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ёт об исполнении учебной программы по преподаваемой дисциплине, практике 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4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925560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ведения о родителях обучающихся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2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21745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лан воспитательной работы 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1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214200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циальный паспорт группы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0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476263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 о реализации плана воспитательной работы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6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418279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ичные дела обучающихся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3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017668"/>
                  </a:ext>
                </a:extLst>
              </a:tr>
              <a:tr h="56544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бочая программа практики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8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1611368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 о практике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5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2257930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урнал протоколов классных часов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3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713612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нформация о работе с обучающимися, состоящими на учете в ПДН УВД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2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833814"/>
                  </a:ext>
                </a:extLst>
              </a:tr>
              <a:tr h="33773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ы по разовым запросам муниципального органа управления образованием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7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0289637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 о занятости обучающихся в каникулярный период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7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046217"/>
                  </a:ext>
                </a:extLst>
              </a:tr>
            </a:tbl>
          </a:graphicData>
        </a:graphic>
      </p:graphicFrame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5E0F2EC6-A13C-1417-827E-E5489D8C57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5264355"/>
              </p:ext>
            </p:extLst>
          </p:nvPr>
        </p:nvGraphicFramePr>
        <p:xfrm>
          <a:off x="7559675" y="1687286"/>
          <a:ext cx="7440502" cy="875211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63255">
                  <a:extLst>
                    <a:ext uri="{9D8B030D-6E8A-4147-A177-3AD203B41FA5}">
                      <a16:colId xmlns:a16="http://schemas.microsoft.com/office/drawing/2014/main" val="368960046"/>
                    </a:ext>
                  </a:extLst>
                </a:gridCol>
                <a:gridCol w="5743322">
                  <a:extLst>
                    <a:ext uri="{9D8B030D-6E8A-4147-A177-3AD203B41FA5}">
                      <a16:colId xmlns:a16="http://schemas.microsoft.com/office/drawing/2014/main" val="2721034797"/>
                    </a:ext>
                  </a:extLst>
                </a:gridCol>
                <a:gridCol w="1133925">
                  <a:extLst>
                    <a:ext uri="{9D8B030D-6E8A-4147-A177-3AD203B41FA5}">
                      <a16:colId xmlns:a16="http://schemas.microsoft.com/office/drawing/2014/main" val="1717893428"/>
                    </a:ext>
                  </a:extLst>
                </a:gridCol>
              </a:tblGrid>
              <a:tr h="167896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</a:t>
                      </a:r>
                      <a:r>
                        <a:rPr lang="en-US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effectLst/>
                        </a:rPr>
                        <a:t>Наименование документа</a:t>
                      </a:r>
                      <a:endParaRPr lang="ru-RU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effectLst/>
                        </a:rPr>
                        <a:t>Доля педагогов, заполняющих документ (%)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041648"/>
                  </a:ext>
                </a:extLst>
              </a:tr>
              <a:tr h="35838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лан научно-исследовательской работы 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8836623"/>
                  </a:ext>
                </a:extLst>
              </a:tr>
              <a:tr h="35838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 о научно-исследовательской работе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9421299"/>
                  </a:ext>
                </a:extLst>
              </a:tr>
              <a:tr h="35838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лан работы с отстающими обучающимися 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3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7928711"/>
                  </a:ext>
                </a:extLst>
              </a:tr>
              <a:tr h="35838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 о работе с отстающими обучающимися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3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099877"/>
                  </a:ext>
                </a:extLst>
              </a:tr>
              <a:tr h="35838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ониторинг по патриотическому воспитанию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2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9739065"/>
                  </a:ext>
                </a:extLst>
              </a:tr>
              <a:tr h="35838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ы о выполнении ВПР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6274024"/>
                  </a:ext>
                </a:extLst>
              </a:tr>
              <a:tr h="5090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кументация, связанная с эпидемиологической ситуацией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4913421"/>
                  </a:ext>
                </a:extLst>
              </a:tr>
              <a:tr h="58286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8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урнал по работе с отстающими обучающимися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3316930"/>
                  </a:ext>
                </a:extLst>
              </a:tr>
              <a:tr h="57645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ы по разовым запросам регионального органа управления образованием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925560"/>
                  </a:ext>
                </a:extLst>
              </a:tr>
              <a:tr h="51414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кументация, связанная с проведением экскурсий (маршрутные листы, медицинские справки, сведения о транспорте и др.)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21745"/>
                  </a:ext>
                </a:extLst>
              </a:tr>
              <a:tr h="51414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ы по разовым запросам федерального органа управления и контроля в сфере образования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214200"/>
                  </a:ext>
                </a:extLst>
              </a:tr>
              <a:tr h="51414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кты обследования жилищно-бытовых условий семьи несовершеннолетнего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5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476263"/>
                  </a:ext>
                </a:extLst>
              </a:tr>
              <a:tr h="28390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ндивидуальные карты занятости обучающихся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418279"/>
                  </a:ext>
                </a:extLst>
              </a:tr>
              <a:tr h="28390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ы по разовым запросам Роспотребнадзора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017668"/>
                  </a:ext>
                </a:extLst>
              </a:tr>
              <a:tr h="57645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5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лан работы с обучающимися с ОВЗ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1611368"/>
                  </a:ext>
                </a:extLst>
              </a:tr>
              <a:tr h="28390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6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 о работе с обучающимися с ОВЗ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2257930"/>
                  </a:ext>
                </a:extLst>
              </a:tr>
              <a:tr h="28390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ы по разовым запросам МЧС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7136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031467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1413337" y="447363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ДОКУМЕНТАЦИЯ ПРЕПОДАВАТЕЛЯ ВУЗА 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93AF5D2-A4D0-3492-CF44-D212EE75A2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1461" y="2797196"/>
            <a:ext cx="12061979" cy="49098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8A06FCE-EA24-C2C7-2960-D9CEBF814F73}"/>
              </a:ext>
            </a:extLst>
          </p:cNvPr>
          <p:cNvSpPr txBox="1"/>
          <p:nvPr/>
        </p:nvSpPr>
        <p:spPr>
          <a:xfrm>
            <a:off x="5366657" y="8287204"/>
            <a:ext cx="5682133" cy="21236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600" b="1" dirty="0"/>
              <a:t>2071</a:t>
            </a:r>
            <a:r>
              <a:rPr lang="ru-RU" sz="6600" dirty="0"/>
              <a:t> человек </a:t>
            </a:r>
          </a:p>
          <a:p>
            <a:r>
              <a:rPr lang="ru-RU" sz="6600" b="1" dirty="0"/>
              <a:t>61</a:t>
            </a:r>
            <a:r>
              <a:rPr lang="ru-RU" sz="6600" dirty="0"/>
              <a:t> регион </a:t>
            </a:r>
          </a:p>
        </p:txBody>
      </p:sp>
    </p:spTree>
    <p:extLst>
      <p:ext uri="{BB962C8B-B14F-4D97-AF65-F5344CB8AC3E}">
        <p14:creationId xmlns:p14="http://schemas.microsoft.com/office/powerpoint/2010/main" val="4583930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1413337" y="447363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ДОКУМЕНТАЦИЯ ПРЕПОДАВАТЕЛЯ ВУЗА  </a:t>
            </a: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18FC5A33-C311-6DEA-507B-8DD838859E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7561782"/>
              </p:ext>
            </p:extLst>
          </p:nvPr>
        </p:nvGraphicFramePr>
        <p:xfrm>
          <a:off x="305139" y="1937658"/>
          <a:ext cx="6954726" cy="847956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26481">
                  <a:extLst>
                    <a:ext uri="{9D8B030D-6E8A-4147-A177-3AD203B41FA5}">
                      <a16:colId xmlns:a16="http://schemas.microsoft.com/office/drawing/2014/main" val="368960046"/>
                    </a:ext>
                  </a:extLst>
                </a:gridCol>
                <a:gridCol w="5325614">
                  <a:extLst>
                    <a:ext uri="{9D8B030D-6E8A-4147-A177-3AD203B41FA5}">
                      <a16:colId xmlns:a16="http://schemas.microsoft.com/office/drawing/2014/main" val="2721034797"/>
                    </a:ext>
                  </a:extLst>
                </a:gridCol>
                <a:gridCol w="1102631">
                  <a:extLst>
                    <a:ext uri="{9D8B030D-6E8A-4147-A177-3AD203B41FA5}">
                      <a16:colId xmlns:a16="http://schemas.microsoft.com/office/drawing/2014/main" val="1717893428"/>
                    </a:ext>
                  </a:extLst>
                </a:gridCol>
              </a:tblGrid>
              <a:tr h="139907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</a:t>
                      </a:r>
                      <a:r>
                        <a:rPr lang="en-US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effectLst/>
                        </a:rPr>
                        <a:t>Наименование документа</a:t>
                      </a:r>
                      <a:endParaRPr lang="ru-RU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effectLst/>
                        </a:rPr>
                        <a:t>Доля педагогов, заполняющих документ (%)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041648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Рабочая программа дисциплины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95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8836623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Экзаменационные и зачетные ведомости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95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9421299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Индивидуальный план работы преподавателя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95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7928711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Фонды оценочных средств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92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099877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Зачетные книжки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92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9739065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Индивидуальный отчет по НИД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78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6274024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Отзыв руководителя на ВКР студента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75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4913421"/>
                  </a:ext>
                </a:extLst>
              </a:tr>
              <a:tr h="57172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Рецензии на учебные пособия, учебно-методические работы, научные материалы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72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3316930"/>
                  </a:ext>
                </a:extLst>
              </a:tr>
              <a:tr h="56544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Наполнение странички на персональном сайте преподавателей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72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925560"/>
                  </a:ext>
                </a:extLst>
              </a:tr>
              <a:tr h="351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Почасовые ведомости, заявления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71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21745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Рабочая программа практики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70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214200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Заявка на издание учебной литературы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70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476263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Справки на антиплагиат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68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418279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Матрицы компетенций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64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017668"/>
                  </a:ext>
                </a:extLst>
              </a:tr>
              <a:tr h="56544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Индивидуальный план работы студента в рамках выполнения ВКР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56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1611368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Отзывы на авторефераты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53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2257930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Протоколы работы экзаменационной комиссии</a:t>
                      </a: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51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713612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Отчет о практике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50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833814"/>
                  </a:ext>
                </a:extLst>
              </a:tr>
              <a:tr h="33773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Справки по курсовым работам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39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0289637"/>
                  </a:ext>
                </a:extLst>
              </a:tr>
              <a:tr h="2784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Докладные на практику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28</a:t>
                      </a: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046217"/>
                  </a:ext>
                </a:extLst>
              </a:tr>
            </a:tbl>
          </a:graphicData>
        </a:graphic>
      </p:graphicFrame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5E0F2EC6-A13C-1417-827E-E5489D8C57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5186705"/>
              </p:ext>
            </p:extLst>
          </p:nvPr>
        </p:nvGraphicFramePr>
        <p:xfrm>
          <a:off x="7559676" y="1948543"/>
          <a:ext cx="7440502" cy="847956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63255">
                  <a:extLst>
                    <a:ext uri="{9D8B030D-6E8A-4147-A177-3AD203B41FA5}">
                      <a16:colId xmlns:a16="http://schemas.microsoft.com/office/drawing/2014/main" val="368960046"/>
                    </a:ext>
                  </a:extLst>
                </a:gridCol>
                <a:gridCol w="5743322">
                  <a:extLst>
                    <a:ext uri="{9D8B030D-6E8A-4147-A177-3AD203B41FA5}">
                      <a16:colId xmlns:a16="http://schemas.microsoft.com/office/drawing/2014/main" val="2721034797"/>
                    </a:ext>
                  </a:extLst>
                </a:gridCol>
                <a:gridCol w="1133925">
                  <a:extLst>
                    <a:ext uri="{9D8B030D-6E8A-4147-A177-3AD203B41FA5}">
                      <a16:colId xmlns:a16="http://schemas.microsoft.com/office/drawing/2014/main" val="1717893428"/>
                    </a:ext>
                  </a:extLst>
                </a:gridCol>
              </a:tblGrid>
              <a:tr h="143682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</a:t>
                      </a:r>
                      <a:r>
                        <a:rPr lang="en-US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ru-RU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effectLst/>
                        </a:rPr>
                        <a:t>Наименование документа</a:t>
                      </a:r>
                      <a:endParaRPr lang="ru-RU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effectLst/>
                        </a:rPr>
                        <a:t>Доля педагогов, заполняющих документ (%)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041648"/>
                  </a:ext>
                </a:extLst>
              </a:tr>
              <a:tr h="3067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урналы посещаемости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8836623"/>
                  </a:ext>
                </a:extLst>
              </a:tr>
              <a:tr h="3067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ёты по эффективному контракту 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9421299"/>
                  </a:ext>
                </a:extLst>
              </a:tr>
              <a:tr h="3067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ёты по НИР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7928711"/>
                  </a:ext>
                </a:extLst>
              </a:tr>
              <a:tr h="3067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знообразные анкеты и опросы Минобразования и т.д.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099877"/>
                  </a:ext>
                </a:extLst>
              </a:tr>
              <a:tr h="3067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урнал взаимопосещений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9739065"/>
                  </a:ext>
                </a:extLst>
              </a:tr>
              <a:tr h="3067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урнал тематики проведенных занятий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6274024"/>
                  </a:ext>
                </a:extLst>
              </a:tr>
              <a:tr h="4355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полнение индивидуальной таблицы мониторинга эффективности показателей педагогического состава в ЭИОС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4913421"/>
                  </a:ext>
                </a:extLst>
              </a:tr>
              <a:tr h="4988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8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ндивидуальный отчет о профориентационной работе с будущими абитуриентами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3316930"/>
                  </a:ext>
                </a:extLst>
              </a:tr>
              <a:tr h="49332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лужебные записки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925560"/>
                  </a:ext>
                </a:extLst>
              </a:tr>
              <a:tr h="3067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ёт куратора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21745"/>
                  </a:ext>
                </a:extLst>
              </a:tr>
              <a:tr h="4355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зработка и корректировка программ ГИА с учетом изменений компетенций по ФГОС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214200"/>
                  </a:ext>
                </a:extLst>
              </a:tr>
              <a:tr h="24296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токолы контрольных занятий преподавателей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476263"/>
                  </a:ext>
                </a:extLst>
              </a:tr>
              <a:tr h="24296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четы по трудоустройству выпускников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418279"/>
                  </a:ext>
                </a:extLst>
              </a:tr>
              <a:tr h="24296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нятость преподавателя на каждый семестр 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017668"/>
                  </a:ext>
                </a:extLst>
              </a:tr>
              <a:tr h="49332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5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ннотации программ рабочих дисциплин 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1611368"/>
                  </a:ext>
                </a:extLst>
              </a:tr>
              <a:tr h="24296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6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тодические материалы по дисциплине 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2257930"/>
                  </a:ext>
                </a:extLst>
              </a:tr>
              <a:tr h="24296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ценочные материалы по дисциплине 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713612"/>
                  </a:ext>
                </a:extLst>
              </a:tr>
              <a:tr h="4355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естовые задания входного контроля по дисциплинам в системе дистанционного обучения на платформе Moodle </a:t>
                      </a:r>
                      <a:endParaRPr lang="ru-RU" sz="11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833814"/>
                  </a:ext>
                </a:extLst>
              </a:tr>
              <a:tr h="4355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лан работы студенческого научного кружка. Отчет руководителя о работе СНК. 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0289637"/>
                  </a:ext>
                </a:extLst>
              </a:tr>
              <a:tr h="4355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kern="1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</a:t>
                      </a: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лан куратора студенческой группы. </a:t>
                      </a:r>
                      <a:endParaRPr lang="ru-RU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b="0" kern="1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787" marR="677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0462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77861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262422" y="621534"/>
            <a:ext cx="8782968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АНАЛИЗ СИТУАЦИИ </a:t>
            </a:r>
          </a:p>
        </p:txBody>
      </p:sp>
      <p:graphicFrame>
        <p:nvGraphicFramePr>
          <p:cNvPr id="11" name="Объект 3">
            <a:extLst>
              <a:ext uri="{FF2B5EF4-FFF2-40B4-BE49-F238E27FC236}">
                <a16:creationId xmlns:a16="http://schemas.microsoft.com/office/drawing/2014/main" id="{95997A1E-F72D-C301-5D82-22A35FB0787A}"/>
              </a:ext>
            </a:extLst>
          </p:cNvPr>
          <p:cNvGraphicFramePr>
            <a:graphicFrameLocks/>
          </p:cNvGraphicFramePr>
          <p:nvPr/>
        </p:nvGraphicFramePr>
        <p:xfrm>
          <a:off x="594419" y="2329543"/>
          <a:ext cx="5475977" cy="40879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2" name="Схема 11">
            <a:extLst>
              <a:ext uri="{FF2B5EF4-FFF2-40B4-BE49-F238E27FC236}">
                <a16:creationId xmlns:a16="http://schemas.microsoft.com/office/drawing/2014/main" id="{57C49690-25B7-FAC6-A44C-DCEC38F3BBDE}"/>
              </a:ext>
            </a:extLst>
          </p:cNvPr>
          <p:cNvGraphicFramePr/>
          <p:nvPr/>
        </p:nvGraphicFramePr>
        <p:xfrm>
          <a:off x="6356794" y="3548743"/>
          <a:ext cx="5475977" cy="52649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F7A4A1D7-F5C3-F63A-0038-958B8EEE8640}"/>
              </a:ext>
            </a:extLst>
          </p:cNvPr>
          <p:cNvSpPr txBox="1"/>
          <p:nvPr/>
        </p:nvSpPr>
        <p:spPr>
          <a:xfrm>
            <a:off x="12006824" y="5476197"/>
            <a:ext cx="2828168" cy="1160959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3472" dirty="0"/>
              <a:t>Отчетность </a:t>
            </a:r>
          </a:p>
          <a:p>
            <a:pPr algn="ctr"/>
            <a:r>
              <a:rPr lang="ru-RU" sz="3472" dirty="0"/>
              <a:t>«про запас»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65C4DC-9FC0-A97C-BB69-4D1A39EB7E36}"/>
              </a:ext>
            </a:extLst>
          </p:cNvPr>
          <p:cNvSpPr txBox="1"/>
          <p:nvPr/>
        </p:nvSpPr>
        <p:spPr>
          <a:xfrm>
            <a:off x="6294153" y="3173524"/>
            <a:ext cx="4416209" cy="6266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472" b="1" dirty="0">
                <a:solidFill>
                  <a:srgbClr val="423D67"/>
                </a:solidFill>
              </a:rPr>
              <a:t>5 пилотных регионов</a:t>
            </a:r>
            <a:r>
              <a:rPr lang="ru-RU" sz="3472" dirty="0">
                <a:solidFill>
                  <a:srgbClr val="FFFF00"/>
                </a:solidFill>
              </a:rPr>
              <a:t> </a:t>
            </a:r>
          </a:p>
        </p:txBody>
      </p:sp>
      <p:graphicFrame>
        <p:nvGraphicFramePr>
          <p:cNvPr id="15" name="Объект 3">
            <a:extLst>
              <a:ext uri="{FF2B5EF4-FFF2-40B4-BE49-F238E27FC236}">
                <a16:creationId xmlns:a16="http://schemas.microsoft.com/office/drawing/2014/main" id="{C8A0FDE6-7847-26EB-58BB-670115D8EC94}"/>
              </a:ext>
            </a:extLst>
          </p:cNvPr>
          <p:cNvGraphicFramePr>
            <a:graphicFrameLocks/>
          </p:cNvGraphicFramePr>
          <p:nvPr/>
        </p:nvGraphicFramePr>
        <p:xfrm>
          <a:off x="81821" y="6558021"/>
          <a:ext cx="6409515" cy="34071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</p:spTree>
    <p:extLst>
      <p:ext uri="{BB962C8B-B14F-4D97-AF65-F5344CB8AC3E}">
        <p14:creationId xmlns:p14="http://schemas.microsoft.com/office/powerpoint/2010/main" val="19102304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699467CF-2490-D237-DCD1-F9BB73986295}"/>
              </a:ext>
            </a:extLst>
          </p:cNvPr>
          <p:cNvSpPr txBox="1"/>
          <p:nvPr/>
        </p:nvSpPr>
        <p:spPr>
          <a:xfrm>
            <a:off x="12032929" y="2173064"/>
            <a:ext cx="2438400" cy="2226658"/>
          </a:xfrm>
          <a:prstGeom prst="rect">
            <a:avLst/>
          </a:prstGeom>
          <a:solidFill>
            <a:srgbClr val="ABA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defPPr>
              <a:defRPr lang="ru-RU"/>
            </a:defPPr>
            <a:lvl1pPr algn="r">
              <a:defRPr sz="2400" b="1">
                <a:solidFill>
                  <a:srgbClr val="423D67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542925" algn="l"/>
            <a:r>
              <a:rPr lang="ru-RU" sz="2000" dirty="0">
                <a:solidFill>
                  <a:schemeClr val="tx1"/>
                </a:solidFill>
              </a:rPr>
              <a:t>РЕЕСТР СОСТОИТ ИЗ </a:t>
            </a:r>
          </a:p>
          <a:p>
            <a:pPr marL="542925" algn="l"/>
            <a:r>
              <a:rPr lang="ru-RU" sz="5400" dirty="0">
                <a:solidFill>
                  <a:schemeClr val="tx1"/>
                </a:solidFill>
              </a:rPr>
              <a:t>171 </a:t>
            </a:r>
          </a:p>
          <a:p>
            <a:pPr marL="542925" algn="l"/>
            <a:r>
              <a:rPr lang="ru-RU" sz="2000" dirty="0">
                <a:solidFill>
                  <a:schemeClr val="tx1"/>
                </a:solidFill>
              </a:rPr>
              <a:t>СТРОКИ</a:t>
            </a:r>
          </a:p>
        </p:txBody>
      </p:sp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1413337" y="447363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ОТЧЕТЫ ВУЗОВ ВО ВНЕШНИЕ ИНСТАНЦИИ</a:t>
            </a: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109014CE-839D-2457-35AB-5344EF4A10DC}"/>
              </a:ext>
            </a:extLst>
          </p:cNvPr>
          <p:cNvGrpSpPr/>
          <p:nvPr/>
        </p:nvGrpSpPr>
        <p:grpSpPr>
          <a:xfrm>
            <a:off x="1413337" y="1937885"/>
            <a:ext cx="10771808" cy="7617816"/>
            <a:chOff x="1771146" y="2155926"/>
            <a:chExt cx="8242707" cy="5829237"/>
          </a:xfrm>
        </p:grpSpPr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44FBE580-BD13-B70D-2BCF-225A1490D1C8}"/>
                </a:ext>
              </a:extLst>
            </p:cNvPr>
            <p:cNvSpPr/>
            <p:nvPr/>
          </p:nvSpPr>
          <p:spPr>
            <a:xfrm rot="16200000">
              <a:off x="2962978" y="1050765"/>
              <a:ext cx="5742566" cy="8126229"/>
            </a:xfrm>
            <a:prstGeom prst="rect">
              <a:avLst/>
            </a:prstGeom>
            <a:solidFill>
              <a:srgbClr val="CDCDEB"/>
            </a:solidFill>
            <a:ln>
              <a:solidFill>
                <a:srgbClr val="CDCD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6" name="Рисунок 15">
              <a:extLst>
                <a:ext uri="{FF2B5EF4-FFF2-40B4-BE49-F238E27FC236}">
                  <a16:creationId xmlns:a16="http://schemas.microsoft.com/office/drawing/2014/main" id="{5BBE10BD-8886-3391-8497-609F2252F1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/>
          </p:blipFill>
          <p:spPr>
            <a:xfrm>
              <a:off x="1889888" y="2155926"/>
              <a:ext cx="8123965" cy="5743281"/>
            </a:xfrm>
            <a:prstGeom prst="rect">
              <a:avLst/>
            </a:prstGeom>
            <a:ln w="12700">
              <a:solidFill>
                <a:srgbClr val="CDCDEB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29410237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1413337" y="447363"/>
            <a:ext cx="994377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ДУБЛИРОВАНИЕ ЗАПРОСОВ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F65CF273-BDA9-ACC9-B355-3C68A2F45517}"/>
              </a:ext>
            </a:extLst>
          </p:cNvPr>
          <p:cNvGrpSpPr/>
          <p:nvPr/>
        </p:nvGrpSpPr>
        <p:grpSpPr>
          <a:xfrm>
            <a:off x="1413337" y="1834785"/>
            <a:ext cx="12194714" cy="7682861"/>
            <a:chOff x="1413337" y="1834785"/>
            <a:chExt cx="12194714" cy="7682861"/>
          </a:xfrm>
        </p:grpSpPr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id="{73EF32AD-5B5A-C36C-E266-4912584F6BB8}"/>
                </a:ext>
              </a:extLst>
            </p:cNvPr>
            <p:cNvGrpSpPr/>
            <p:nvPr/>
          </p:nvGrpSpPr>
          <p:grpSpPr>
            <a:xfrm>
              <a:off x="8706194" y="1834785"/>
              <a:ext cx="4901857" cy="6869062"/>
              <a:chOff x="4762753" y="2110324"/>
              <a:chExt cx="5304881" cy="7433827"/>
            </a:xfrm>
          </p:grpSpPr>
          <p:sp>
            <p:nvSpPr>
              <p:cNvPr id="4" name="Прямоугольник 3">
                <a:extLst>
                  <a:ext uri="{FF2B5EF4-FFF2-40B4-BE49-F238E27FC236}">
                    <a16:creationId xmlns:a16="http://schemas.microsoft.com/office/drawing/2014/main" id="{9984C098-3846-C488-DE41-50E983976E3A}"/>
                  </a:ext>
                </a:extLst>
              </p:cNvPr>
              <p:cNvSpPr/>
              <p:nvPr/>
            </p:nvSpPr>
            <p:spPr>
              <a:xfrm>
                <a:off x="4762753" y="2187303"/>
                <a:ext cx="5198867" cy="7356848"/>
              </a:xfrm>
              <a:prstGeom prst="rect">
                <a:avLst/>
              </a:prstGeom>
              <a:solidFill>
                <a:srgbClr val="CDCDEB"/>
              </a:solidFill>
              <a:ln>
                <a:solidFill>
                  <a:srgbClr val="CDCD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D440173A-7E74-F7D2-58E4-4C3B2CC94F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rcRect/>
              <a:stretch/>
            </p:blipFill>
            <p:spPr>
              <a:xfrm>
                <a:off x="4868769" y="2110324"/>
                <a:ext cx="5198865" cy="7351782"/>
              </a:xfrm>
              <a:prstGeom prst="rect">
                <a:avLst/>
              </a:prstGeom>
              <a:ln w="12700">
                <a:solidFill>
                  <a:srgbClr val="CDCDEB"/>
                </a:solidFill>
              </a:ln>
            </p:spPr>
          </p:pic>
        </p:grpSp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B296013E-5F10-759C-A56E-6EDD7D0FA591}"/>
                </a:ext>
              </a:extLst>
            </p:cNvPr>
            <p:cNvGrpSpPr/>
            <p:nvPr/>
          </p:nvGrpSpPr>
          <p:grpSpPr>
            <a:xfrm>
              <a:off x="5060591" y="2242852"/>
              <a:ext cx="4900206" cy="6866726"/>
              <a:chOff x="7876804" y="2112852"/>
              <a:chExt cx="5303094" cy="7431299"/>
            </a:xfrm>
          </p:grpSpPr>
          <p:sp>
            <p:nvSpPr>
              <p:cNvPr id="7" name="Прямоугольник 6">
                <a:extLst>
                  <a:ext uri="{FF2B5EF4-FFF2-40B4-BE49-F238E27FC236}">
                    <a16:creationId xmlns:a16="http://schemas.microsoft.com/office/drawing/2014/main" id="{5237AB22-0FE3-51A8-187F-A28F3B1E42BB}"/>
                  </a:ext>
                </a:extLst>
              </p:cNvPr>
              <p:cNvSpPr/>
              <p:nvPr/>
            </p:nvSpPr>
            <p:spPr>
              <a:xfrm>
                <a:off x="7876804" y="2187303"/>
                <a:ext cx="5198867" cy="7356848"/>
              </a:xfrm>
              <a:prstGeom prst="rect">
                <a:avLst/>
              </a:prstGeom>
              <a:solidFill>
                <a:srgbClr val="CDCDEB"/>
              </a:solidFill>
              <a:ln>
                <a:solidFill>
                  <a:srgbClr val="CDCD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3" name="Рисунок 2">
                <a:extLst>
                  <a:ext uri="{FF2B5EF4-FFF2-40B4-BE49-F238E27FC236}">
                    <a16:creationId xmlns:a16="http://schemas.microsoft.com/office/drawing/2014/main" id="{1722B408-4355-F7BA-3C3F-5D83C6C9C0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/>
              <a:stretch/>
            </p:blipFill>
            <p:spPr>
              <a:xfrm>
                <a:off x="7984609" y="2112852"/>
                <a:ext cx="5195289" cy="7346725"/>
              </a:xfrm>
              <a:prstGeom prst="rect">
                <a:avLst/>
              </a:prstGeom>
              <a:ln w="22225">
                <a:solidFill>
                  <a:srgbClr val="CDCDEB"/>
                </a:solidFill>
              </a:ln>
            </p:spPr>
          </p:pic>
        </p:grpSp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id="{905DB3F2-87CD-2986-6EB8-D886A97A2EDF}"/>
                </a:ext>
              </a:extLst>
            </p:cNvPr>
            <p:cNvGrpSpPr/>
            <p:nvPr/>
          </p:nvGrpSpPr>
          <p:grpSpPr>
            <a:xfrm>
              <a:off x="1413337" y="2648583"/>
              <a:ext cx="4901857" cy="6869063"/>
              <a:chOff x="1834024" y="2110323"/>
              <a:chExt cx="5304881" cy="7433828"/>
            </a:xfrm>
          </p:grpSpPr>
          <p:sp>
            <p:nvSpPr>
              <p:cNvPr id="6" name="Прямоугольник 5">
                <a:extLst>
                  <a:ext uri="{FF2B5EF4-FFF2-40B4-BE49-F238E27FC236}">
                    <a16:creationId xmlns:a16="http://schemas.microsoft.com/office/drawing/2014/main" id="{1CB52054-38E1-BDF1-0376-39A613579386}"/>
                  </a:ext>
                </a:extLst>
              </p:cNvPr>
              <p:cNvSpPr/>
              <p:nvPr/>
            </p:nvSpPr>
            <p:spPr>
              <a:xfrm>
                <a:off x="1834024" y="2187303"/>
                <a:ext cx="5198867" cy="7356848"/>
              </a:xfrm>
              <a:prstGeom prst="rect">
                <a:avLst/>
              </a:prstGeom>
              <a:solidFill>
                <a:srgbClr val="CDCDEB"/>
              </a:solidFill>
              <a:ln>
                <a:solidFill>
                  <a:srgbClr val="CDCD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5" name="Рисунок 4">
                <a:extLst>
                  <a:ext uri="{FF2B5EF4-FFF2-40B4-BE49-F238E27FC236}">
                    <a16:creationId xmlns:a16="http://schemas.microsoft.com/office/drawing/2014/main" id="{B23730FE-503D-F6E1-B25C-9CF3264CF7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rcRect/>
              <a:stretch/>
            </p:blipFill>
            <p:spPr>
              <a:xfrm>
                <a:off x="1940040" y="2110323"/>
                <a:ext cx="5198865" cy="7351784"/>
              </a:xfrm>
              <a:prstGeom prst="rect">
                <a:avLst/>
              </a:prstGeom>
              <a:ln w="12700">
                <a:solidFill>
                  <a:srgbClr val="CDCDEB"/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8527059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1413337" y="447363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ТЕКУЩАЯ СИТУАЦИЯ </a:t>
            </a:r>
          </a:p>
        </p:txBody>
      </p:sp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8FE09756-3F14-BD44-866D-C6DA722E5B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2545805"/>
              </p:ext>
            </p:extLst>
          </p:nvPr>
        </p:nvGraphicFramePr>
        <p:xfrm>
          <a:off x="630917" y="2473805"/>
          <a:ext cx="12741889" cy="49693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B484DFE4-99F1-C160-EF93-81678C1F2D8F}"/>
              </a:ext>
            </a:extLst>
          </p:cNvPr>
          <p:cNvSpPr/>
          <p:nvPr/>
        </p:nvSpPr>
        <p:spPr>
          <a:xfrm>
            <a:off x="501500" y="8060004"/>
            <a:ext cx="12947527" cy="648847"/>
          </a:xfrm>
          <a:prstGeom prst="roundRect">
            <a:avLst/>
          </a:prstGeom>
          <a:noFill/>
          <a:ln w="57150">
            <a:solidFill>
              <a:srgbClr val="565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5B8B39A-E9BC-474B-AC4C-2F8619E94A45}"/>
              </a:ext>
            </a:extLst>
          </p:cNvPr>
          <p:cNvSpPr txBox="1"/>
          <p:nvPr/>
        </p:nvSpPr>
        <p:spPr>
          <a:xfrm>
            <a:off x="501499" y="8139027"/>
            <a:ext cx="12871307" cy="4739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80" b="1" dirty="0"/>
              <a:t>Избыточный сбор данных без обратной связи, а реально нужных данных нет  </a:t>
            </a:r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11FEBDB6-8781-48DE-5610-2BA4AD5387A6}"/>
              </a:ext>
            </a:extLst>
          </p:cNvPr>
          <p:cNvSpPr/>
          <p:nvPr/>
        </p:nvSpPr>
        <p:spPr>
          <a:xfrm>
            <a:off x="501497" y="8849775"/>
            <a:ext cx="12947530" cy="648847"/>
          </a:xfrm>
          <a:prstGeom prst="roundRect">
            <a:avLst/>
          </a:prstGeom>
          <a:noFill/>
          <a:ln w="57150">
            <a:solidFill>
              <a:srgbClr val="565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DA14DC-86AE-0327-6BB3-A8E7579DCC37}"/>
              </a:ext>
            </a:extLst>
          </p:cNvPr>
          <p:cNvSpPr txBox="1"/>
          <p:nvPr/>
        </p:nvSpPr>
        <p:spPr>
          <a:xfrm>
            <a:off x="582385" y="8872479"/>
            <a:ext cx="1347107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dirty="0"/>
              <a:t>Данные имеющихся ИС не позволяют обеспечить автоматизацию мониторингов   </a:t>
            </a:r>
          </a:p>
        </p:txBody>
      </p:sp>
    </p:spTree>
    <p:extLst>
      <p:ext uri="{BB962C8B-B14F-4D97-AF65-F5344CB8AC3E}">
        <p14:creationId xmlns:p14="http://schemas.microsoft.com/office/powerpoint/2010/main" val="18263076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632537" y="801306"/>
            <a:ext cx="8782968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ПРИЧИНЫ   </a:t>
            </a:r>
          </a:p>
        </p:txBody>
      </p:sp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AAD2F10F-0C82-9FBD-3DCC-E088754E3E5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66973026"/>
              </p:ext>
            </p:extLst>
          </p:nvPr>
        </p:nvGraphicFramePr>
        <p:xfrm>
          <a:off x="1039456" y="2466239"/>
          <a:ext cx="13040439" cy="53941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9F1C76A5-F1A2-617D-6A37-07C0C473644D}"/>
              </a:ext>
            </a:extLst>
          </p:cNvPr>
          <p:cNvSpPr txBox="1"/>
          <p:nvPr/>
        </p:nvSpPr>
        <p:spPr>
          <a:xfrm>
            <a:off x="1524000" y="8727840"/>
            <a:ext cx="12039600" cy="1077218"/>
          </a:xfrm>
          <a:prstGeom prst="rect">
            <a:avLst/>
          </a:prstGeom>
          <a:noFill/>
          <a:ln w="28575">
            <a:solidFill>
              <a:srgbClr val="8A8AD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>
                <a:solidFill>
                  <a:srgbClr val="8A8AD0"/>
                </a:solidFill>
              </a:rPr>
              <a:t>Никто не владеет информацией </a:t>
            </a:r>
          </a:p>
          <a:p>
            <a:pPr algn="ctr"/>
            <a:r>
              <a:rPr lang="ru-RU" sz="3200" b="1" dirty="0">
                <a:solidFill>
                  <a:srgbClr val="8A8AD0"/>
                </a:solidFill>
              </a:rPr>
              <a:t>обо всем объеме собираемых данных в системе образования  </a:t>
            </a:r>
          </a:p>
        </p:txBody>
      </p:sp>
    </p:spTree>
    <p:extLst>
      <p:ext uri="{BB962C8B-B14F-4D97-AF65-F5344CB8AC3E}">
        <p14:creationId xmlns:p14="http://schemas.microsoft.com/office/powerpoint/2010/main" val="23802550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1885422" y="502840"/>
            <a:ext cx="11348506" cy="13234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ПРИОРИТЕТ ПРАВИТЕЛЬСВА РОССИЙСКОЙ ФЕДЕРАЦИИ 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B5EE2F4-D581-7231-47AD-91D5EF9383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3548" y="3034202"/>
            <a:ext cx="8408399" cy="4868020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67E325A-DC44-A4C1-E574-5BF504BA3FF2}"/>
              </a:ext>
            </a:extLst>
          </p:cNvPr>
          <p:cNvSpPr/>
          <p:nvPr/>
        </p:nvSpPr>
        <p:spPr>
          <a:xfrm>
            <a:off x="1885422" y="8654143"/>
            <a:ext cx="8408399" cy="1201057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600" b="1" dirty="0">
                <a:solidFill>
                  <a:schemeClr val="tx1"/>
                </a:solidFill>
              </a:rPr>
              <a:t>Снижение бюрократической нагрузки </a:t>
            </a:r>
          </a:p>
          <a:p>
            <a:pPr algn="ctr"/>
            <a:r>
              <a:rPr lang="ru-RU" sz="3600" b="1" dirty="0">
                <a:solidFill>
                  <a:schemeClr val="tx1"/>
                </a:solidFill>
              </a:rPr>
              <a:t>на всех уровнях образования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319D38B-1C97-51F1-701D-F3056A3F9978}"/>
              </a:ext>
            </a:extLst>
          </p:cNvPr>
          <p:cNvSpPr txBox="1"/>
          <p:nvPr/>
        </p:nvSpPr>
        <p:spPr>
          <a:xfrm>
            <a:off x="10509957" y="3575056"/>
            <a:ext cx="4334932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423D67"/>
                </a:solidFill>
              </a:rPr>
              <a:t>Поручение Председателя Правительства Российской Федерации М.В. Мишустина </a:t>
            </a:r>
          </a:p>
          <a:p>
            <a:r>
              <a:rPr lang="ru-RU" sz="2400" b="1" dirty="0">
                <a:solidFill>
                  <a:srgbClr val="423D67"/>
                </a:solidFill>
              </a:rPr>
              <a:t>от 30.03.2023 № ММ-П8-4473</a:t>
            </a:r>
          </a:p>
          <a:p>
            <a:endParaRPr lang="ru-RU" sz="2400" b="1" dirty="0">
              <a:solidFill>
                <a:srgbClr val="423D67"/>
              </a:solidFill>
            </a:endParaRPr>
          </a:p>
          <a:p>
            <a:r>
              <a:rPr lang="ru-RU" sz="2400" b="1" dirty="0">
                <a:solidFill>
                  <a:srgbClr val="423D67"/>
                </a:solidFill>
                <a:effectLst/>
                <a:ea typeface="STFangsong" panose="02010600040101010101" pitchFamily="2" charset="-122"/>
              </a:rPr>
              <a:t>Письмо Аппарата Правительства Российской Федерации от 05.10.2023 </a:t>
            </a:r>
            <a:br>
              <a:rPr lang="ru-RU" sz="2400" b="1" dirty="0">
                <a:solidFill>
                  <a:srgbClr val="423D67"/>
                </a:solidFill>
                <a:effectLst/>
                <a:ea typeface="STFangsong" panose="02010600040101010101" pitchFamily="2" charset="-122"/>
              </a:rPr>
            </a:br>
            <a:r>
              <a:rPr lang="ru-RU" sz="2400" b="1" dirty="0">
                <a:solidFill>
                  <a:srgbClr val="423D67"/>
                </a:solidFill>
                <a:effectLst/>
                <a:ea typeface="STFangsong" panose="02010600040101010101" pitchFamily="2" charset="-122"/>
              </a:rPr>
              <a:t>№ 650887-П8 </a:t>
            </a:r>
            <a:endParaRPr lang="ru-RU" sz="2400" b="1" dirty="0">
              <a:solidFill>
                <a:srgbClr val="423D67"/>
              </a:solidFill>
              <a:ea typeface="STFangsong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401172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1413337" y="447363"/>
            <a:ext cx="994377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ОСНОВНЫЕ ЗАДАЧИ </a:t>
            </a:r>
          </a:p>
        </p:txBody>
      </p:sp>
      <p:graphicFrame>
        <p:nvGraphicFramePr>
          <p:cNvPr id="8" name="Схема 7">
            <a:extLst>
              <a:ext uri="{FF2B5EF4-FFF2-40B4-BE49-F238E27FC236}">
                <a16:creationId xmlns:a16="http://schemas.microsoft.com/office/drawing/2014/main" id="{A1DF3FE0-BCB9-1BC7-74BE-E02501D678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5979668"/>
              </p:ext>
            </p:extLst>
          </p:nvPr>
        </p:nvGraphicFramePr>
        <p:xfrm>
          <a:off x="1570188" y="1647663"/>
          <a:ext cx="11294080" cy="67197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84EFA50-6277-3429-C8BF-59F6A8F3A225}"/>
              </a:ext>
            </a:extLst>
          </p:cNvPr>
          <p:cNvSpPr/>
          <p:nvPr/>
        </p:nvSpPr>
        <p:spPr>
          <a:xfrm>
            <a:off x="1523999" y="8850085"/>
            <a:ext cx="5693229" cy="130628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тсечь все лишнее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91E325C-A812-7B64-E278-9AB1D64A0E10}"/>
              </a:ext>
            </a:extLst>
          </p:cNvPr>
          <p:cNvSpPr/>
          <p:nvPr/>
        </p:nvSpPr>
        <p:spPr>
          <a:xfrm>
            <a:off x="7663542" y="8850085"/>
            <a:ext cx="5693229" cy="130628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ставить нужное </a:t>
            </a:r>
          </a:p>
        </p:txBody>
      </p:sp>
    </p:spTree>
    <p:extLst>
      <p:ext uri="{BB962C8B-B14F-4D97-AF65-F5344CB8AC3E}">
        <p14:creationId xmlns:p14="http://schemas.microsoft.com/office/powerpoint/2010/main" val="16707168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BBBF21D-960E-7F54-A933-4866385C2798}"/>
              </a:ext>
            </a:extLst>
          </p:cNvPr>
          <p:cNvSpPr txBox="1"/>
          <p:nvPr/>
        </p:nvSpPr>
        <p:spPr>
          <a:xfrm>
            <a:off x="2056158" y="1619529"/>
            <a:ext cx="9295298" cy="582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403"/>
            <a:r>
              <a:rPr lang="ru-RU" sz="3182" b="1" dirty="0">
                <a:solidFill>
                  <a:srgbClr val="423D67"/>
                </a:solidFill>
                <a:latin typeface="Arial" panose="020B0604020202020204"/>
              </a:rPr>
              <a:t>МОДЕЛЬ РЕАЛИЗАЦИИ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0D1C771-73CA-D308-60B4-4904B489AA6D}"/>
              </a:ext>
            </a:extLst>
          </p:cNvPr>
          <p:cNvSpPr/>
          <p:nvPr/>
        </p:nvSpPr>
        <p:spPr>
          <a:xfrm>
            <a:off x="2173575" y="2427408"/>
            <a:ext cx="8494204" cy="762787"/>
          </a:xfrm>
          <a:prstGeom prst="rect">
            <a:avLst/>
          </a:prstGeom>
          <a:solidFill>
            <a:srgbClr val="F79A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8403"/>
            <a:r>
              <a:rPr lang="ru-RU" sz="1432" b="1" dirty="0">
                <a:solidFill>
                  <a:prstClr val="black"/>
                </a:solidFill>
                <a:latin typeface="Arial" panose="020B0604020202020204"/>
              </a:rPr>
              <a:t>Межведомственная рабочая группа </a:t>
            </a:r>
          </a:p>
          <a:p>
            <a:pPr algn="ctr" defTabSz="1028403"/>
            <a:r>
              <a:rPr lang="ru-RU" sz="1432" b="1" dirty="0">
                <a:solidFill>
                  <a:prstClr val="black"/>
                </a:solidFill>
                <a:latin typeface="Arial" panose="020B0604020202020204"/>
              </a:rPr>
              <a:t>по снижению документационной нагрузки в системе образования</a:t>
            </a:r>
          </a:p>
          <a:p>
            <a:pPr algn="ctr" defTabSz="1028403"/>
            <a:r>
              <a:rPr lang="ru-RU" sz="1432" dirty="0">
                <a:solidFill>
                  <a:prstClr val="black"/>
                </a:solidFill>
                <a:latin typeface="Arial" panose="020B0604020202020204"/>
              </a:rPr>
              <a:t>+ 4 экспертные группы </a:t>
            </a:r>
          </a:p>
        </p:txBody>
      </p:sp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297BA7CE-5AAE-CE1A-32D5-DF9AFADC44CF}"/>
              </a:ext>
            </a:extLst>
          </p:cNvPr>
          <p:cNvGraphicFramePr/>
          <p:nvPr/>
        </p:nvGraphicFramePr>
        <p:xfrm>
          <a:off x="2191463" y="3024517"/>
          <a:ext cx="8494204" cy="30392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C4EB96E-5C8D-1718-5E0F-C0999A6CCAA4}"/>
              </a:ext>
            </a:extLst>
          </p:cNvPr>
          <p:cNvSpPr/>
          <p:nvPr/>
        </p:nvSpPr>
        <p:spPr>
          <a:xfrm>
            <a:off x="2150002" y="6302198"/>
            <a:ext cx="8529978" cy="615435"/>
          </a:xfrm>
          <a:prstGeom prst="rect">
            <a:avLst/>
          </a:prstGeom>
          <a:solidFill>
            <a:srgbClr val="F79A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8403"/>
            <a:r>
              <a:rPr lang="ru-RU" b="1" dirty="0">
                <a:solidFill>
                  <a:prstClr val="black"/>
                </a:solidFill>
                <a:latin typeface="Arial" panose="020B0604020202020204"/>
              </a:rPr>
              <a:t>Рабочая группа по Регуляторной гильотине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BEA155B-631B-5CA3-70A1-4A3B98432AFD}"/>
              </a:ext>
            </a:extLst>
          </p:cNvPr>
          <p:cNvSpPr/>
          <p:nvPr/>
        </p:nvSpPr>
        <p:spPr>
          <a:xfrm>
            <a:off x="2161377" y="6981269"/>
            <a:ext cx="8524325" cy="615435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8403"/>
            <a:r>
              <a:rPr lang="ru-RU" sz="1272" b="1" dirty="0">
                <a:solidFill>
                  <a:prstClr val="black"/>
                </a:solidFill>
                <a:latin typeface="Arial" panose="020B0604020202020204"/>
              </a:rPr>
              <a:t>Внесение изменений в 273 ФЗ </a:t>
            </a:r>
          </a:p>
          <a:p>
            <a:pPr algn="ctr" defTabSz="1028403"/>
            <a:r>
              <a:rPr lang="ru-RU" sz="1272" dirty="0">
                <a:solidFill>
                  <a:prstClr val="black"/>
                </a:solidFill>
                <a:latin typeface="Arial" panose="020B0604020202020204"/>
              </a:rPr>
              <a:t>(об установлении полномочий Минпросвещения и Минобрнауки по установлению перечней документации и иной запрашиваемой информации)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ACB013B-AAD4-C67E-A7CB-98E94779F89D}"/>
              </a:ext>
            </a:extLst>
          </p:cNvPr>
          <p:cNvSpPr/>
          <p:nvPr/>
        </p:nvSpPr>
        <p:spPr>
          <a:xfrm>
            <a:off x="2146334" y="7667296"/>
            <a:ext cx="8533645" cy="597109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8403"/>
            <a:r>
              <a:rPr lang="ru-RU" sz="1272" b="1" dirty="0">
                <a:solidFill>
                  <a:prstClr val="black"/>
                </a:solidFill>
                <a:latin typeface="Arial" panose="020B0604020202020204"/>
              </a:rPr>
              <a:t>Издание приказов </a:t>
            </a:r>
          </a:p>
          <a:p>
            <a:pPr algn="ctr" defTabSz="1028403"/>
            <a:r>
              <a:rPr lang="ru-RU" sz="1272" dirty="0">
                <a:solidFill>
                  <a:prstClr val="black"/>
                </a:solidFill>
                <a:latin typeface="Arial" panose="020B0604020202020204"/>
              </a:rPr>
              <a:t>Минобрнауки, Минпросвещения, Рособрнадзора об установлении перечней документации, мониторингов, ИС </a:t>
            </a: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D8D3277A-977D-3D38-B273-A91EE581E728}"/>
              </a:ext>
            </a:extLst>
          </p:cNvPr>
          <p:cNvCxnSpPr>
            <a:cxnSpLocks/>
          </p:cNvCxnSpPr>
          <p:nvPr/>
        </p:nvCxnSpPr>
        <p:spPr>
          <a:xfrm>
            <a:off x="1814875" y="8341064"/>
            <a:ext cx="11395074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AE75194A-6A40-9E5B-100D-31DD63DA64BF}"/>
              </a:ext>
            </a:extLst>
          </p:cNvPr>
          <p:cNvSpPr/>
          <p:nvPr/>
        </p:nvSpPr>
        <p:spPr>
          <a:xfrm>
            <a:off x="2161378" y="8424147"/>
            <a:ext cx="8494204" cy="53609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8403"/>
            <a:r>
              <a:rPr lang="ru-RU" sz="1909" dirty="0">
                <a:solidFill>
                  <a:prstClr val="white"/>
                </a:solidFill>
                <a:latin typeface="Arial" panose="020B0604020202020204"/>
              </a:rPr>
              <a:t>Сокращенные перечни документации, мониторингов, ГИС, запросов  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F6561D6E-92B1-DB8F-8D24-133E2390E8E0}"/>
              </a:ext>
            </a:extLst>
          </p:cNvPr>
          <p:cNvSpPr/>
          <p:nvPr/>
        </p:nvSpPr>
        <p:spPr>
          <a:xfrm>
            <a:off x="2161378" y="8968754"/>
            <a:ext cx="2138593" cy="44502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8403"/>
            <a:r>
              <a:rPr lang="ru-RU" sz="2024" dirty="0">
                <a:solidFill>
                  <a:prstClr val="white"/>
                </a:solidFill>
                <a:latin typeface="Arial" panose="020B0604020202020204"/>
              </a:rPr>
              <a:t>Детские сады 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CA61551-2AB3-E6A0-4805-55EE9384D1D1}"/>
              </a:ext>
            </a:extLst>
          </p:cNvPr>
          <p:cNvSpPr/>
          <p:nvPr/>
        </p:nvSpPr>
        <p:spPr>
          <a:xfrm>
            <a:off x="4299971" y="8968754"/>
            <a:ext cx="2138593" cy="44502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8403"/>
            <a:r>
              <a:rPr lang="ru-RU" sz="2024" dirty="0">
                <a:solidFill>
                  <a:prstClr val="white"/>
                </a:solidFill>
                <a:latin typeface="Arial" panose="020B0604020202020204"/>
              </a:rPr>
              <a:t>Школы 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7BA39A33-5F48-BAF7-A84D-5293498E546D}"/>
              </a:ext>
            </a:extLst>
          </p:cNvPr>
          <p:cNvSpPr/>
          <p:nvPr/>
        </p:nvSpPr>
        <p:spPr>
          <a:xfrm>
            <a:off x="6378396" y="8960242"/>
            <a:ext cx="2138593" cy="44502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8403"/>
            <a:r>
              <a:rPr lang="ru-RU" sz="2024" dirty="0">
                <a:solidFill>
                  <a:prstClr val="white"/>
                </a:solidFill>
                <a:latin typeface="Arial" panose="020B0604020202020204"/>
              </a:rPr>
              <a:t>СПО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7C88FCFD-237A-6C9E-43A4-5ABFE6FBDE8A}"/>
              </a:ext>
            </a:extLst>
          </p:cNvPr>
          <p:cNvSpPr/>
          <p:nvPr/>
        </p:nvSpPr>
        <p:spPr>
          <a:xfrm>
            <a:off x="8516989" y="8961730"/>
            <a:ext cx="2138593" cy="44502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8403"/>
            <a:r>
              <a:rPr lang="ru-RU" sz="2024" dirty="0">
                <a:solidFill>
                  <a:prstClr val="white"/>
                </a:solidFill>
                <a:latin typeface="Arial" panose="020B0604020202020204"/>
              </a:rPr>
              <a:t>Вузы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C14DA2-963D-D161-658D-221D48E3AB6D}"/>
              </a:ext>
            </a:extLst>
          </p:cNvPr>
          <p:cNvSpPr txBox="1"/>
          <p:nvPr/>
        </p:nvSpPr>
        <p:spPr>
          <a:xfrm>
            <a:off x="10918560" y="8495326"/>
            <a:ext cx="2961067" cy="7029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028403"/>
            <a:r>
              <a:rPr lang="ru-RU" sz="3968" b="1" dirty="0">
                <a:solidFill>
                  <a:srgbClr val="C00000"/>
                </a:solidFill>
                <a:latin typeface="Arial" panose="020B0604020202020204"/>
              </a:rPr>
              <a:t>С 1.03.2024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5968FE01-FAE9-953B-FAB7-29A00048B891}"/>
              </a:ext>
            </a:extLst>
          </p:cNvPr>
          <p:cNvSpPr/>
          <p:nvPr/>
        </p:nvSpPr>
        <p:spPr>
          <a:xfrm>
            <a:off x="2155689" y="5663638"/>
            <a:ext cx="8529978" cy="615435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8403"/>
            <a:r>
              <a:rPr lang="ru-RU" sz="3156" b="1" dirty="0">
                <a:solidFill>
                  <a:prstClr val="black"/>
                </a:solidFill>
                <a:latin typeface="Arial" panose="020B0604020202020204"/>
              </a:rPr>
              <a:t>Проекты документов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8338542-83D3-1AB9-3064-60209E7F9904}"/>
              </a:ext>
            </a:extLst>
          </p:cNvPr>
          <p:cNvSpPr/>
          <p:nvPr/>
        </p:nvSpPr>
        <p:spPr>
          <a:xfrm>
            <a:off x="10585215" y="2427408"/>
            <a:ext cx="3882770" cy="3874790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81000" rtlCol="0" anchor="ctr"/>
          <a:lstStyle/>
          <a:p>
            <a:pPr>
              <a:lnSpc>
                <a:spcPct val="85000"/>
              </a:lnSpc>
            </a:pPr>
            <a:endParaRPr lang="ru-RU" sz="3156" b="1" spc="-45" dirty="0">
              <a:solidFill>
                <a:srgbClr val="423D67"/>
              </a:solidFill>
            </a:endParaRPr>
          </a:p>
          <a:p>
            <a:pPr>
              <a:lnSpc>
                <a:spcPct val="85000"/>
              </a:lnSpc>
            </a:pPr>
            <a:endParaRPr lang="ru-RU" sz="3156" b="1" spc="-45" dirty="0">
              <a:solidFill>
                <a:srgbClr val="423D67"/>
              </a:solidFill>
            </a:endParaRPr>
          </a:p>
          <a:p>
            <a:pPr>
              <a:lnSpc>
                <a:spcPct val="85000"/>
              </a:lnSpc>
            </a:pPr>
            <a:r>
              <a:rPr lang="en-US" sz="3156" b="1" spc="-45" dirty="0">
                <a:solidFill>
                  <a:srgbClr val="423D67"/>
                </a:solidFill>
              </a:rPr>
              <a:t>III</a:t>
            </a:r>
            <a:r>
              <a:rPr lang="ru-RU" sz="3156" b="1" spc="-45" dirty="0">
                <a:solidFill>
                  <a:srgbClr val="423D67"/>
                </a:solidFill>
              </a:rPr>
              <a:t>. </a:t>
            </a:r>
            <a:r>
              <a:rPr lang="ru-RU" sz="2480" b="1" spc="-45" dirty="0">
                <a:solidFill>
                  <a:srgbClr val="423D67"/>
                </a:solidFill>
              </a:rPr>
              <a:t>Проведение эксперимента </a:t>
            </a:r>
            <a:endParaRPr lang="en-US" sz="2480" b="1" spc="-45" dirty="0">
              <a:solidFill>
                <a:srgbClr val="423D67"/>
              </a:solidFill>
            </a:endParaRPr>
          </a:p>
          <a:p>
            <a:pPr>
              <a:lnSpc>
                <a:spcPct val="85000"/>
              </a:lnSpc>
            </a:pPr>
            <a:r>
              <a:rPr lang="ru-RU" sz="1575" b="1" spc="-45" dirty="0">
                <a:solidFill>
                  <a:srgbClr val="423D67"/>
                </a:solidFill>
              </a:rPr>
              <a:t>по сокращению бюрократической нагрузки на образовательные организации и их педагогических работников</a:t>
            </a:r>
          </a:p>
          <a:p>
            <a:pPr>
              <a:lnSpc>
                <a:spcPct val="85000"/>
              </a:lnSpc>
            </a:pPr>
            <a:r>
              <a:rPr lang="ru-RU" sz="1350" spc="-45" dirty="0">
                <a:solidFill>
                  <a:srgbClr val="423D67"/>
                </a:solidFill>
              </a:rPr>
              <a:t>(в соответствии с постановлением Правительства Российской Федерации)</a:t>
            </a:r>
          </a:p>
          <a:p>
            <a:pPr>
              <a:lnSpc>
                <a:spcPct val="85000"/>
              </a:lnSpc>
            </a:pPr>
            <a:endParaRPr lang="ru-RU" sz="1350" spc="-45" dirty="0">
              <a:solidFill>
                <a:srgbClr val="423D67"/>
              </a:solidFill>
            </a:endParaRPr>
          </a:p>
          <a:p>
            <a:pPr>
              <a:lnSpc>
                <a:spcPct val="85000"/>
              </a:lnSpc>
            </a:pPr>
            <a:endParaRPr lang="ru-RU" sz="1350" spc="-45" dirty="0">
              <a:solidFill>
                <a:srgbClr val="423D67"/>
              </a:solidFill>
            </a:endParaRPr>
          </a:p>
          <a:p>
            <a:pPr>
              <a:lnSpc>
                <a:spcPct val="85000"/>
              </a:lnSpc>
            </a:pPr>
            <a:r>
              <a:rPr lang="ru-RU" sz="2480" b="1" spc="-45" dirty="0">
                <a:solidFill>
                  <a:srgbClr val="423D67"/>
                </a:solidFill>
              </a:rPr>
              <a:t>6 пилотных регионов</a:t>
            </a:r>
          </a:p>
          <a:p>
            <a:pPr>
              <a:lnSpc>
                <a:spcPct val="85000"/>
              </a:lnSpc>
            </a:pPr>
            <a:endParaRPr lang="ru-RU" sz="2480" b="1" spc="-45" dirty="0">
              <a:solidFill>
                <a:srgbClr val="423D67"/>
              </a:solidFill>
            </a:endParaRPr>
          </a:p>
          <a:p>
            <a:pPr>
              <a:lnSpc>
                <a:spcPct val="85000"/>
              </a:lnSpc>
            </a:pPr>
            <a:r>
              <a:rPr lang="ru-RU" sz="2480" b="1" spc="-45" dirty="0">
                <a:solidFill>
                  <a:srgbClr val="423D67"/>
                </a:solidFill>
              </a:rPr>
              <a:t>24 образовательные организации </a:t>
            </a:r>
          </a:p>
          <a:p>
            <a:pPr>
              <a:lnSpc>
                <a:spcPct val="85000"/>
              </a:lnSpc>
            </a:pPr>
            <a:endParaRPr lang="ru-RU" sz="1350" spc="-45" dirty="0">
              <a:solidFill>
                <a:srgbClr val="423D67"/>
              </a:solidFill>
            </a:endParaRPr>
          </a:p>
          <a:p>
            <a:pPr>
              <a:lnSpc>
                <a:spcPct val="85000"/>
              </a:lnSpc>
            </a:pPr>
            <a:endParaRPr lang="ru-RU" sz="1350" spc="-45" dirty="0">
              <a:solidFill>
                <a:srgbClr val="423D67"/>
              </a:solidFill>
            </a:endParaRPr>
          </a:p>
          <a:p>
            <a:pPr>
              <a:lnSpc>
                <a:spcPct val="85000"/>
              </a:lnSpc>
            </a:pPr>
            <a:endParaRPr lang="ru-RU" sz="1350" spc="-45" dirty="0">
              <a:solidFill>
                <a:srgbClr val="423D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4411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BAD181C-6D4D-4345-F1EE-B6042FFA9C64}"/>
              </a:ext>
            </a:extLst>
          </p:cNvPr>
          <p:cNvSpPr txBox="1"/>
          <p:nvPr/>
        </p:nvSpPr>
        <p:spPr>
          <a:xfrm>
            <a:off x="2161356" y="1414907"/>
            <a:ext cx="10745535" cy="582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182" b="1" dirty="0">
                <a:solidFill>
                  <a:srgbClr val="423D67"/>
                </a:solidFill>
              </a:rPr>
              <a:t>ОБРАЗ РЕЗУЛЬТАТА (федеральный уровень)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6A9EA5C-8607-4DA7-AB0F-66E7F7ACB8D2}"/>
              </a:ext>
            </a:extLst>
          </p:cNvPr>
          <p:cNvSpPr txBox="1"/>
          <p:nvPr/>
        </p:nvSpPr>
        <p:spPr>
          <a:xfrm>
            <a:off x="3096388" y="3414166"/>
            <a:ext cx="9187061" cy="973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432" dirty="0"/>
          </a:p>
          <a:p>
            <a:endParaRPr lang="ru-RU" sz="1432" dirty="0"/>
          </a:p>
          <a:p>
            <a:endParaRPr lang="ru-RU" sz="1432" dirty="0"/>
          </a:p>
          <a:p>
            <a:r>
              <a:rPr lang="ru-RU" sz="1432" dirty="0"/>
              <a:t>  </a:t>
            </a: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95B65E2-B57C-BF2F-515F-4E9B05E4D629}"/>
              </a:ext>
            </a:extLst>
          </p:cNvPr>
          <p:cNvGraphicFramePr>
            <a:graphicFrameLocks noGrp="1"/>
          </p:cNvGraphicFramePr>
          <p:nvPr/>
        </p:nvGraphicFramePr>
        <p:xfrm>
          <a:off x="2302616" y="2673363"/>
          <a:ext cx="10604273" cy="61907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5506">
                  <a:extLst>
                    <a:ext uri="{9D8B030D-6E8A-4147-A177-3AD203B41FA5}">
                      <a16:colId xmlns:a16="http://schemas.microsoft.com/office/drawing/2014/main" val="3536865043"/>
                    </a:ext>
                  </a:extLst>
                </a:gridCol>
                <a:gridCol w="1059846">
                  <a:extLst>
                    <a:ext uri="{9D8B030D-6E8A-4147-A177-3AD203B41FA5}">
                      <a16:colId xmlns:a16="http://schemas.microsoft.com/office/drawing/2014/main" val="2470547450"/>
                    </a:ext>
                  </a:extLst>
                </a:gridCol>
                <a:gridCol w="1059846">
                  <a:extLst>
                    <a:ext uri="{9D8B030D-6E8A-4147-A177-3AD203B41FA5}">
                      <a16:colId xmlns:a16="http://schemas.microsoft.com/office/drawing/2014/main" val="3834612085"/>
                    </a:ext>
                  </a:extLst>
                </a:gridCol>
                <a:gridCol w="1129116">
                  <a:extLst>
                    <a:ext uri="{9D8B030D-6E8A-4147-A177-3AD203B41FA5}">
                      <a16:colId xmlns:a16="http://schemas.microsoft.com/office/drawing/2014/main" val="102961316"/>
                    </a:ext>
                  </a:extLst>
                </a:gridCol>
                <a:gridCol w="990575">
                  <a:extLst>
                    <a:ext uri="{9D8B030D-6E8A-4147-A177-3AD203B41FA5}">
                      <a16:colId xmlns:a16="http://schemas.microsoft.com/office/drawing/2014/main" val="2029369992"/>
                    </a:ext>
                  </a:extLst>
                </a:gridCol>
                <a:gridCol w="1059846">
                  <a:extLst>
                    <a:ext uri="{9D8B030D-6E8A-4147-A177-3AD203B41FA5}">
                      <a16:colId xmlns:a16="http://schemas.microsoft.com/office/drawing/2014/main" val="41017536"/>
                    </a:ext>
                  </a:extLst>
                </a:gridCol>
                <a:gridCol w="1059846">
                  <a:extLst>
                    <a:ext uri="{9D8B030D-6E8A-4147-A177-3AD203B41FA5}">
                      <a16:colId xmlns:a16="http://schemas.microsoft.com/office/drawing/2014/main" val="3009125920"/>
                    </a:ext>
                  </a:extLst>
                </a:gridCol>
                <a:gridCol w="1059846">
                  <a:extLst>
                    <a:ext uri="{9D8B030D-6E8A-4147-A177-3AD203B41FA5}">
                      <a16:colId xmlns:a16="http://schemas.microsoft.com/office/drawing/2014/main" val="1567068814"/>
                    </a:ext>
                  </a:extLst>
                </a:gridCol>
                <a:gridCol w="1059846">
                  <a:extLst>
                    <a:ext uri="{9D8B030D-6E8A-4147-A177-3AD203B41FA5}">
                      <a16:colId xmlns:a16="http://schemas.microsoft.com/office/drawing/2014/main" val="2164395506"/>
                    </a:ext>
                  </a:extLst>
                </a:gridCol>
              </a:tblGrid>
              <a:tr h="732192">
                <a:tc rowSpan="2">
                  <a:txBody>
                    <a:bodyPr/>
                    <a:lstStyle/>
                    <a:p>
                      <a:r>
                        <a:rPr lang="ru-RU" sz="1500" dirty="0"/>
                        <a:t>ПОКАЗАТЕЛИ 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500" dirty="0"/>
                        <a:t>ДЕТСКИЙ САД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500" dirty="0"/>
                        <a:t>ШКОЛА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500" dirty="0"/>
                        <a:t>КОЛЛЕДЖ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500" dirty="0"/>
                        <a:t>ВУЗ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0161453"/>
                  </a:ext>
                </a:extLst>
              </a:tr>
              <a:tr h="318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 Было 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Станет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 Было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Станет 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Было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Станет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Было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Станет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6264925"/>
                  </a:ext>
                </a:extLst>
              </a:tr>
              <a:tr h="699103">
                <a:tc>
                  <a:txBody>
                    <a:bodyPr/>
                    <a:lstStyle/>
                    <a:p>
                      <a:r>
                        <a:rPr lang="ru-RU" sz="1500" dirty="0"/>
                        <a:t>Количество документов педагога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Более 50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2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Более 50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5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Более 30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6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Более 20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4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130069"/>
                  </a:ext>
                </a:extLst>
              </a:tr>
              <a:tr h="824739">
                <a:tc>
                  <a:txBody>
                    <a:bodyPr/>
                    <a:lstStyle/>
                    <a:p>
                      <a:r>
                        <a:rPr lang="ru-RU" sz="1500" dirty="0"/>
                        <a:t>Количество документов организации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Более 40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?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864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Более 70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?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864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Более 70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?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864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Более 100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?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86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244871"/>
                  </a:ext>
                </a:extLst>
              </a:tr>
              <a:tr h="654939">
                <a:tc>
                  <a:txBody>
                    <a:bodyPr/>
                    <a:lstStyle/>
                    <a:p>
                      <a:r>
                        <a:rPr lang="ru-RU" sz="1500" dirty="0"/>
                        <a:t>Количество мониторингов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17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1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32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2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14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2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5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2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6438860"/>
                  </a:ext>
                </a:extLst>
              </a:tr>
              <a:tr h="753105">
                <a:tc>
                  <a:txBody>
                    <a:bodyPr/>
                    <a:lstStyle/>
                    <a:p>
                      <a:r>
                        <a:rPr lang="ru-RU" sz="1500" dirty="0"/>
                        <a:t>Количество показателей мониторингов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413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?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1576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?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418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?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Более </a:t>
                      </a:r>
                    </a:p>
                    <a:p>
                      <a:r>
                        <a:rPr lang="ru-RU" sz="1500" dirty="0"/>
                        <a:t>11 000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?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76916"/>
                  </a:ext>
                </a:extLst>
              </a:tr>
              <a:tr h="753105">
                <a:tc>
                  <a:txBody>
                    <a:bodyPr/>
                    <a:lstStyle/>
                    <a:p>
                      <a:r>
                        <a:rPr lang="ru-RU" sz="1500" dirty="0"/>
                        <a:t>Количество информационных систем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4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1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3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1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2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1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Более 40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1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0289162"/>
                  </a:ext>
                </a:extLst>
              </a:tr>
              <a:tr h="1433476">
                <a:tc>
                  <a:txBody>
                    <a:bodyPr/>
                    <a:lstStyle/>
                    <a:p>
                      <a:r>
                        <a:rPr lang="ru-RU" sz="1500" dirty="0"/>
                        <a:t>Количество статистических данных, собираемых в информационных в информационных системах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Более </a:t>
                      </a:r>
                    </a:p>
                    <a:p>
                      <a:r>
                        <a:rPr lang="ru-RU" sz="1500" dirty="0"/>
                        <a:t>11 000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?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Более </a:t>
                      </a:r>
                    </a:p>
                    <a:p>
                      <a:r>
                        <a:rPr lang="ru-RU" sz="1500" dirty="0"/>
                        <a:t>11 000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?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Более </a:t>
                      </a:r>
                    </a:p>
                    <a:p>
                      <a:r>
                        <a:rPr lang="ru-RU" sz="1500" dirty="0"/>
                        <a:t>6 000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?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Более 5000 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?</a:t>
                      </a:r>
                    </a:p>
                  </a:txBody>
                  <a:tcPr marL="72735" marR="72735" marT="36367" marB="3636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7171521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F5C56DE-C98E-E4B8-CD67-D7C361739B02}"/>
              </a:ext>
            </a:extLst>
          </p:cNvPr>
          <p:cNvSpPr/>
          <p:nvPr/>
        </p:nvSpPr>
        <p:spPr>
          <a:xfrm>
            <a:off x="2308431" y="9007085"/>
            <a:ext cx="619111" cy="4991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32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210BF-CCBB-8B82-12D2-CEC1BF971554}"/>
              </a:ext>
            </a:extLst>
          </p:cNvPr>
          <p:cNvSpPr txBox="1"/>
          <p:nvPr/>
        </p:nvSpPr>
        <p:spPr>
          <a:xfrm>
            <a:off x="3096388" y="9109767"/>
            <a:ext cx="9984319" cy="312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32" dirty="0"/>
              <a:t>Количество станет известным в ходе эксперимента по постановлению правительства РФ </a:t>
            </a:r>
          </a:p>
        </p:txBody>
      </p:sp>
    </p:spTree>
    <p:extLst>
      <p:ext uri="{BB962C8B-B14F-4D97-AF65-F5344CB8AC3E}">
        <p14:creationId xmlns:p14="http://schemas.microsoft.com/office/powerpoint/2010/main" val="203170146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BAD181C-6D4D-4345-F1EE-B6042FFA9C64}"/>
              </a:ext>
            </a:extLst>
          </p:cNvPr>
          <p:cNvSpPr txBox="1"/>
          <p:nvPr/>
        </p:nvSpPr>
        <p:spPr>
          <a:xfrm>
            <a:off x="1906999" y="1552583"/>
            <a:ext cx="10745535" cy="582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182" b="1" dirty="0">
                <a:solidFill>
                  <a:srgbClr val="423D67"/>
                </a:solidFill>
              </a:rPr>
              <a:t>ПЕРЕЧНИ ДОКУМЕНТОВ ПЕДАГОГОВ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6A9EA5C-8607-4DA7-AB0F-66E7F7ACB8D2}"/>
              </a:ext>
            </a:extLst>
          </p:cNvPr>
          <p:cNvSpPr txBox="1"/>
          <p:nvPr/>
        </p:nvSpPr>
        <p:spPr>
          <a:xfrm>
            <a:off x="3339377" y="2673627"/>
            <a:ext cx="9187061" cy="973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432" dirty="0"/>
          </a:p>
          <a:p>
            <a:endParaRPr lang="ru-RU" sz="1432" dirty="0"/>
          </a:p>
          <a:p>
            <a:endParaRPr lang="ru-RU" sz="1432" dirty="0"/>
          </a:p>
          <a:p>
            <a:r>
              <a:rPr lang="ru-RU" sz="1432" dirty="0"/>
              <a:t> 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D81000E-6CB2-AD59-04FB-BBE02A4DF18D}"/>
              </a:ext>
            </a:extLst>
          </p:cNvPr>
          <p:cNvSpPr/>
          <p:nvPr/>
        </p:nvSpPr>
        <p:spPr>
          <a:xfrm>
            <a:off x="923058" y="2815053"/>
            <a:ext cx="3098594" cy="528155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2800" b="1" dirty="0">
              <a:solidFill>
                <a:srgbClr val="423D67"/>
              </a:solidFill>
            </a:endParaRPr>
          </a:p>
          <a:p>
            <a:pPr algn="ctr"/>
            <a:r>
              <a:rPr lang="ru-RU" sz="2800" b="1" dirty="0">
                <a:solidFill>
                  <a:srgbClr val="423D67"/>
                </a:solidFill>
              </a:rPr>
              <a:t>Воспитатель</a:t>
            </a: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marL="425230" indent="-425230">
              <a:buAutoNum type="arabicPeriod"/>
            </a:pPr>
            <a:r>
              <a:rPr lang="ru-RU" sz="1736" dirty="0">
                <a:solidFill>
                  <a:srgbClr val="423D67"/>
                </a:solidFill>
              </a:rPr>
              <a:t>Журнал посещаемости</a:t>
            </a:r>
          </a:p>
          <a:p>
            <a:pPr marL="425230" indent="-425230">
              <a:buAutoNum type="arabicPeriod"/>
            </a:pPr>
            <a:r>
              <a:rPr lang="ru-RU" sz="1736" dirty="0">
                <a:solidFill>
                  <a:srgbClr val="423D67"/>
                </a:solidFill>
              </a:rPr>
              <a:t>Календарно-тематический план  </a:t>
            </a:r>
          </a:p>
          <a:p>
            <a:pPr marL="425230" indent="-425230">
              <a:buAutoNum type="arabicPeriod"/>
            </a:pPr>
            <a:endParaRPr lang="ru-RU" sz="1736" dirty="0">
              <a:solidFill>
                <a:srgbClr val="423D67"/>
              </a:solidFill>
            </a:endParaRPr>
          </a:p>
          <a:p>
            <a:pPr algn="ctr"/>
            <a:endParaRPr lang="ru-RU" sz="1736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r>
              <a:rPr lang="ru-RU" sz="3156" b="1" dirty="0">
                <a:solidFill>
                  <a:srgbClr val="423D67"/>
                </a:solidFill>
              </a:rPr>
              <a:t>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92BD6E8-46B8-4448-2E18-AEAFAB8D1C40}"/>
              </a:ext>
            </a:extLst>
          </p:cNvPr>
          <p:cNvSpPr/>
          <p:nvPr/>
        </p:nvSpPr>
        <p:spPr>
          <a:xfrm>
            <a:off x="4329148" y="2815053"/>
            <a:ext cx="3193608" cy="528155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r>
              <a:rPr lang="ru-RU" sz="3156" b="1" dirty="0">
                <a:solidFill>
                  <a:srgbClr val="423D67"/>
                </a:solidFill>
              </a:rPr>
              <a:t>Учитель</a:t>
            </a: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marL="425230" indent="-425230">
              <a:buAutoNum type="arabicPeriod"/>
            </a:pPr>
            <a:r>
              <a:rPr lang="ru-RU" sz="1736" dirty="0">
                <a:solidFill>
                  <a:srgbClr val="423D67"/>
                </a:solidFill>
              </a:rPr>
              <a:t>Рабочая программа </a:t>
            </a:r>
          </a:p>
          <a:p>
            <a:pPr marL="425230" indent="-425230">
              <a:buAutoNum type="arabicPeriod"/>
            </a:pPr>
            <a:r>
              <a:rPr lang="ru-RU" sz="1736" dirty="0">
                <a:solidFill>
                  <a:srgbClr val="423D67"/>
                </a:solidFill>
              </a:rPr>
              <a:t>Журнал учета успеваемости </a:t>
            </a:r>
          </a:p>
          <a:p>
            <a:pPr marL="425230" indent="-425230">
              <a:buAutoNum type="arabicPeriod"/>
            </a:pPr>
            <a:r>
              <a:rPr lang="ru-RU" sz="1736" dirty="0">
                <a:solidFill>
                  <a:srgbClr val="423D67"/>
                </a:solidFill>
              </a:rPr>
              <a:t>Журнал внеурочной деятельности </a:t>
            </a:r>
          </a:p>
          <a:p>
            <a:pPr marL="425230" indent="-425230">
              <a:buAutoNum type="arabicPeriod"/>
            </a:pPr>
            <a:r>
              <a:rPr lang="ru-RU" sz="1736" dirty="0">
                <a:solidFill>
                  <a:srgbClr val="423D67"/>
                </a:solidFill>
              </a:rPr>
              <a:t>План воспитательной работы </a:t>
            </a:r>
          </a:p>
          <a:p>
            <a:pPr marL="425230" indent="-425230">
              <a:buAutoNum type="arabicPeriod"/>
            </a:pPr>
            <a:r>
              <a:rPr lang="ru-RU" sz="1736" dirty="0">
                <a:solidFill>
                  <a:srgbClr val="423D67"/>
                </a:solidFill>
              </a:rPr>
              <a:t>Характеристика на обучающегося по запросу</a:t>
            </a:r>
          </a:p>
          <a:p>
            <a:pPr algn="ctr"/>
            <a:endParaRPr lang="ru-RU" sz="1736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r>
              <a:rPr lang="ru-RU" sz="4960" b="1" dirty="0">
                <a:solidFill>
                  <a:srgbClr val="423D67"/>
                </a:solidFill>
              </a:rPr>
              <a:t>2023 год  </a:t>
            </a: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r>
              <a:rPr lang="ru-RU" sz="3156" b="1" dirty="0">
                <a:solidFill>
                  <a:srgbClr val="423D67"/>
                </a:solidFill>
              </a:rPr>
              <a:t>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9EC3D4BA-DD85-B186-EDFF-129341C9B0C3}"/>
              </a:ext>
            </a:extLst>
          </p:cNvPr>
          <p:cNvSpPr/>
          <p:nvPr/>
        </p:nvSpPr>
        <p:spPr>
          <a:xfrm>
            <a:off x="7830252" y="2815053"/>
            <a:ext cx="3077234" cy="528155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r>
              <a:rPr lang="ru-RU" sz="2800" b="1" dirty="0">
                <a:solidFill>
                  <a:srgbClr val="423D67"/>
                </a:solidFill>
              </a:rPr>
              <a:t>Преподаватель  СПО </a:t>
            </a:r>
          </a:p>
          <a:p>
            <a:pPr algn="ctr"/>
            <a:endParaRPr lang="ru-RU" sz="1800" b="1" dirty="0">
              <a:solidFill>
                <a:srgbClr val="423D67"/>
              </a:solidFill>
            </a:endParaRPr>
          </a:p>
          <a:p>
            <a:pPr marL="425230" indent="-425230">
              <a:buAutoNum type="arabicPeriod"/>
            </a:pPr>
            <a:r>
              <a:rPr lang="ru-RU" sz="1800" dirty="0">
                <a:solidFill>
                  <a:srgbClr val="423D67"/>
                </a:solidFill>
              </a:rPr>
              <a:t>Рабочая программа</a:t>
            </a:r>
            <a:r>
              <a:rPr lang="ru-RU" sz="1800" kern="100" dirty="0">
                <a:solidFill>
                  <a:srgbClr val="423D67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дисциплины, модуля, курса, практики</a:t>
            </a:r>
            <a:r>
              <a:rPr lang="ru-RU" sz="1800" dirty="0">
                <a:solidFill>
                  <a:srgbClr val="423D67"/>
                </a:solidFill>
              </a:rPr>
              <a:t> </a:t>
            </a:r>
          </a:p>
          <a:p>
            <a:pPr marL="425230" indent="-425230">
              <a:buAutoNum type="arabicPeriod"/>
            </a:pPr>
            <a:r>
              <a:rPr lang="ru-RU" sz="1800" dirty="0">
                <a:solidFill>
                  <a:srgbClr val="423D67"/>
                </a:solidFill>
              </a:rPr>
              <a:t>Журнал учета успеваемости </a:t>
            </a:r>
          </a:p>
          <a:p>
            <a:pPr marL="425230" indent="-425230">
              <a:buAutoNum type="arabicPeriod"/>
            </a:pPr>
            <a:r>
              <a:rPr lang="ru-RU" sz="1800" dirty="0">
                <a:solidFill>
                  <a:srgbClr val="423D67"/>
                </a:solidFill>
              </a:rPr>
              <a:t>Журнал практики </a:t>
            </a:r>
          </a:p>
          <a:p>
            <a:pPr marL="425230" indent="-425230">
              <a:buAutoNum type="arabicPeriod"/>
            </a:pPr>
            <a:r>
              <a:rPr lang="ru-RU" sz="1800" dirty="0">
                <a:solidFill>
                  <a:srgbClr val="423D67"/>
                </a:solidFill>
              </a:rPr>
              <a:t>Экзаменационная</a:t>
            </a:r>
            <a:r>
              <a:rPr lang="en-US" sz="1800" dirty="0">
                <a:solidFill>
                  <a:srgbClr val="423D67"/>
                </a:solidFill>
              </a:rPr>
              <a:t>/</a:t>
            </a:r>
            <a:r>
              <a:rPr lang="ru-RU" sz="1800" dirty="0">
                <a:solidFill>
                  <a:srgbClr val="423D67"/>
                </a:solidFill>
              </a:rPr>
              <a:t> зачетная ведомости </a:t>
            </a:r>
          </a:p>
          <a:p>
            <a:pPr marL="425230" indent="-425230">
              <a:buAutoNum type="arabicPeriod"/>
            </a:pPr>
            <a:r>
              <a:rPr lang="ru-RU" sz="1800" dirty="0">
                <a:solidFill>
                  <a:srgbClr val="423D67"/>
                </a:solidFill>
              </a:rPr>
              <a:t>План воспитательной работы (для куратора) </a:t>
            </a:r>
          </a:p>
          <a:p>
            <a:pPr marL="425230" indent="-425230">
              <a:buAutoNum type="arabicPeriod"/>
            </a:pPr>
            <a:r>
              <a:rPr lang="ru-RU" sz="1800" dirty="0">
                <a:solidFill>
                  <a:srgbClr val="423D67"/>
                </a:solidFill>
              </a:rPr>
              <a:t>Характеристика на обучающегося по запросу (для куратора)</a:t>
            </a:r>
          </a:p>
          <a:p>
            <a:pPr algn="ctr"/>
            <a:endParaRPr lang="ru-RU" sz="1800" b="1" dirty="0">
              <a:solidFill>
                <a:srgbClr val="423D67"/>
              </a:solidFill>
            </a:endParaRPr>
          </a:p>
          <a:p>
            <a:pPr algn="ctr"/>
            <a:endParaRPr lang="ru-RU" sz="173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2A8732A9-FE62-CBDC-9F7D-1DF566799480}"/>
              </a:ext>
            </a:extLst>
          </p:cNvPr>
          <p:cNvSpPr/>
          <p:nvPr/>
        </p:nvSpPr>
        <p:spPr>
          <a:xfrm>
            <a:off x="11246405" y="2815053"/>
            <a:ext cx="3193607" cy="528155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r>
              <a:rPr lang="ru-RU" sz="2800" b="1" dirty="0">
                <a:solidFill>
                  <a:srgbClr val="423D67"/>
                </a:solidFill>
              </a:rPr>
              <a:t>Преподаватель </a:t>
            </a:r>
          </a:p>
          <a:p>
            <a:pPr algn="ctr"/>
            <a:r>
              <a:rPr lang="ru-RU" sz="2800" b="1" dirty="0">
                <a:solidFill>
                  <a:srgbClr val="423D67"/>
                </a:solidFill>
              </a:rPr>
              <a:t>вуза </a:t>
            </a: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marL="425230" indent="-425230">
              <a:buFont typeface="Times New Roman" panose="02020603050405020304" pitchFamily="18" charset="0"/>
              <a:buAutoNum type="arabicPeriod"/>
            </a:pPr>
            <a:r>
              <a:rPr lang="ru-RU" sz="1736" kern="100" dirty="0">
                <a:solidFill>
                  <a:srgbClr val="423D67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абочая программа дисциплины, модуля, курса, практики. </a:t>
            </a:r>
          </a:p>
          <a:p>
            <a:pPr marL="425230" indent="-425230">
              <a:buFont typeface="Times New Roman" panose="02020603050405020304" pitchFamily="18" charset="0"/>
              <a:buAutoNum type="arabicPeriod"/>
            </a:pPr>
            <a:r>
              <a:rPr lang="ru-RU" sz="1736" kern="100" dirty="0">
                <a:solidFill>
                  <a:srgbClr val="423D67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ндивидуальный план работы преподавателя </a:t>
            </a:r>
          </a:p>
          <a:p>
            <a:pPr marL="425230" indent="-425230">
              <a:buFont typeface="Times New Roman" panose="02020603050405020304" pitchFamily="18" charset="0"/>
              <a:buAutoNum type="arabicPeriod"/>
            </a:pPr>
            <a:r>
              <a:rPr lang="ru-RU" sz="1736" kern="100" dirty="0">
                <a:solidFill>
                  <a:srgbClr val="423D67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Экзаменационная и (или) зачетная ведомость </a:t>
            </a:r>
          </a:p>
          <a:p>
            <a:pPr marL="425230" indent="-425230">
              <a:spcAft>
                <a:spcPts val="992"/>
              </a:spcAft>
              <a:buFont typeface="Times New Roman" panose="02020603050405020304" pitchFamily="18" charset="0"/>
              <a:buAutoNum type="arabicPeriod"/>
            </a:pPr>
            <a:r>
              <a:rPr lang="ru-RU" sz="1736" kern="100" dirty="0">
                <a:solidFill>
                  <a:srgbClr val="423D67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Журнал и (или) ведомость текущего контроля (по решению вуза)</a:t>
            </a:r>
          </a:p>
          <a:p>
            <a:pPr algn="ctr"/>
            <a:endParaRPr lang="ru-RU" sz="1736" b="1" dirty="0">
              <a:solidFill>
                <a:srgbClr val="423D67"/>
              </a:solidFill>
            </a:endParaRPr>
          </a:p>
          <a:p>
            <a:pPr algn="ctr"/>
            <a:endParaRPr lang="ru-RU" sz="173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73303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1509247" y="612074"/>
            <a:ext cx="9202296" cy="8556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pPr defTabSz="566974"/>
            <a:r>
              <a:rPr lang="ru-RU" sz="4960" b="1" dirty="0">
                <a:solidFill>
                  <a:srgbClr val="423D67"/>
                </a:solidFill>
                <a:latin typeface="Arial" panose="020B0604020202020204"/>
              </a:rPr>
              <a:t>Результаты опроса (вузы) 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0069A01-981F-74CB-6C69-B9D52D24F9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3221" y="2711432"/>
            <a:ext cx="7891476" cy="363573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FA883EA-6844-67D8-18B0-460549C7C0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5077" y="6600302"/>
            <a:ext cx="7891476" cy="385336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6301272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3621516" y="886760"/>
            <a:ext cx="6986274" cy="582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3200" b="1" dirty="0">
                <a:solidFill>
                  <a:srgbClr val="423D67"/>
                </a:solidFill>
              </a:rPr>
              <a:t>ПРИНЯТЫЕ МЕРЫ В 2022 ГОДУ  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C868FDF1-DDF8-336D-DCFE-A93E8009720F}"/>
              </a:ext>
            </a:extLst>
          </p:cNvPr>
          <p:cNvCxnSpPr>
            <a:cxnSpLocks/>
          </p:cNvCxnSpPr>
          <p:nvPr/>
        </p:nvCxnSpPr>
        <p:spPr>
          <a:xfrm>
            <a:off x="7425920" y="3113815"/>
            <a:ext cx="0" cy="4540755"/>
          </a:xfrm>
          <a:prstGeom prst="line">
            <a:avLst/>
          </a:prstGeom>
          <a:ln w="76200">
            <a:solidFill>
              <a:srgbClr val="8A8AD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7F582E1-6175-FB39-758C-A661B4C2CF59}"/>
              </a:ext>
            </a:extLst>
          </p:cNvPr>
          <p:cNvSpPr/>
          <p:nvPr/>
        </p:nvSpPr>
        <p:spPr>
          <a:xfrm>
            <a:off x="1640120" y="3322895"/>
            <a:ext cx="4802855" cy="763217"/>
          </a:xfrm>
          <a:prstGeom prst="rect">
            <a:avLst/>
          </a:prstGeom>
          <a:solidFill>
            <a:srgbClr val="CDCDE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367" b="1" dirty="0">
                <a:solidFill>
                  <a:srgbClr val="423D67"/>
                </a:solidFill>
              </a:rPr>
              <a:t>Федеральный уровень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CEE8F363-2F98-7630-6D1A-975E0304CC0F}"/>
              </a:ext>
            </a:extLst>
          </p:cNvPr>
          <p:cNvSpPr/>
          <p:nvPr/>
        </p:nvSpPr>
        <p:spPr>
          <a:xfrm>
            <a:off x="8206362" y="3322895"/>
            <a:ext cx="4802855" cy="763217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367" b="1" dirty="0">
                <a:solidFill>
                  <a:srgbClr val="423D67"/>
                </a:solidFill>
              </a:rPr>
              <a:t>Региональный уровень </a:t>
            </a:r>
          </a:p>
        </p:txBody>
      </p:sp>
      <p:graphicFrame>
        <p:nvGraphicFramePr>
          <p:cNvPr id="6" name="Объект 3">
            <a:extLst>
              <a:ext uri="{FF2B5EF4-FFF2-40B4-BE49-F238E27FC236}">
                <a16:creationId xmlns:a16="http://schemas.microsoft.com/office/drawing/2014/main" id="{9860F72B-7372-B82D-2874-3DDAD75224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2605381"/>
              </p:ext>
            </p:extLst>
          </p:nvPr>
        </p:nvGraphicFramePr>
        <p:xfrm>
          <a:off x="7114653" y="4640482"/>
          <a:ext cx="7385492" cy="35798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Объект 3">
            <a:extLst>
              <a:ext uri="{FF2B5EF4-FFF2-40B4-BE49-F238E27FC236}">
                <a16:creationId xmlns:a16="http://schemas.microsoft.com/office/drawing/2014/main" id="{F1651922-166A-1918-67E9-2BA14491B8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39039281"/>
              </p:ext>
            </p:extLst>
          </p:nvPr>
        </p:nvGraphicFramePr>
        <p:xfrm>
          <a:off x="348802" y="4612389"/>
          <a:ext cx="7385492" cy="36289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3FA951D8-9A5A-B242-A1DE-58715133C5E3}"/>
              </a:ext>
            </a:extLst>
          </p:cNvPr>
          <p:cNvSpPr txBox="1"/>
          <p:nvPr/>
        </p:nvSpPr>
        <p:spPr>
          <a:xfrm>
            <a:off x="2049426" y="9070130"/>
            <a:ext cx="12239697" cy="10082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976" b="1" dirty="0">
                <a:solidFill>
                  <a:srgbClr val="C00000"/>
                </a:solidFill>
              </a:rPr>
              <a:t>КАЖДЫЙ РАБОТНИК ОБРАЗОВАНИЯ НЕСЕТ ОТВЕТСВЕННСТЬ </a:t>
            </a:r>
          </a:p>
          <a:p>
            <a:pPr algn="ctr"/>
            <a:r>
              <a:rPr lang="ru-RU" sz="2976" b="1" dirty="0">
                <a:solidFill>
                  <a:srgbClr val="C00000"/>
                </a:solidFill>
              </a:rPr>
              <a:t>ЗА БЮРОКРАТИЧЕСКУЮ НАГРУЗКУ!!!</a:t>
            </a:r>
          </a:p>
        </p:txBody>
      </p:sp>
    </p:spTree>
    <p:extLst>
      <p:ext uri="{BB962C8B-B14F-4D97-AF65-F5344CB8AC3E}">
        <p14:creationId xmlns:p14="http://schemas.microsoft.com/office/powerpoint/2010/main" val="10693742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AAF75C8-1213-2B3E-C887-864F602BD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769" y="484604"/>
            <a:ext cx="11662836" cy="1736803"/>
          </a:xfrm>
        </p:spPr>
        <p:txBody>
          <a:bodyPr>
            <a:normAutofit/>
          </a:bodyPr>
          <a:lstStyle/>
          <a:p>
            <a:r>
              <a:rPr lang="ru-RU" sz="4400" b="1" dirty="0"/>
              <a:t>РЕГИОНАЛЬНЫЕ ЗАДАЧИ </a:t>
            </a:r>
          </a:p>
        </p:txBody>
      </p:sp>
      <p:graphicFrame>
        <p:nvGraphicFramePr>
          <p:cNvPr id="4" name="Объект 3">
            <a:extLst>
              <a:ext uri="{FF2B5EF4-FFF2-40B4-BE49-F238E27FC236}">
                <a16:creationId xmlns:a16="http://schemas.microsoft.com/office/drawing/2014/main" id="{EC4021DF-565A-9859-5655-16D68AC6D2F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00730871"/>
              </p:ext>
            </p:extLst>
          </p:nvPr>
        </p:nvGraphicFramePr>
        <p:xfrm>
          <a:off x="0" y="3678177"/>
          <a:ext cx="9024257" cy="48779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9DBFBC9-73DD-16B2-39BD-EE4868FCCBD1}"/>
              </a:ext>
            </a:extLst>
          </p:cNvPr>
          <p:cNvSpPr txBox="1"/>
          <p:nvPr/>
        </p:nvSpPr>
        <p:spPr>
          <a:xfrm>
            <a:off x="9644743" y="3678177"/>
            <a:ext cx="5069634" cy="5833392"/>
          </a:xfrm>
          <a:prstGeom prst="rect">
            <a:avLst/>
          </a:prstGeom>
          <a:solidFill>
            <a:srgbClr val="565087"/>
          </a:solidFill>
        </p:spPr>
        <p:txBody>
          <a:bodyPr wrap="square" rtlCol="0">
            <a:spAutoFit/>
          </a:bodyPr>
          <a:lstStyle/>
          <a:p>
            <a:r>
              <a:rPr lang="ru-RU" sz="2976" b="1" dirty="0">
                <a:solidFill>
                  <a:srgbClr val="FFFF00"/>
                </a:solidFill>
              </a:rPr>
              <a:t>Система информирования</a:t>
            </a:r>
          </a:p>
          <a:p>
            <a:endParaRPr lang="ru-RU" sz="2976" dirty="0"/>
          </a:p>
          <a:p>
            <a:pPr marL="425230" indent="-425230">
              <a:buAutoNum type="arabicPeriod"/>
            </a:pPr>
            <a:r>
              <a:rPr lang="ru-RU" sz="1800" dirty="0">
                <a:solidFill>
                  <a:schemeClr val="bg1"/>
                </a:solidFill>
              </a:rPr>
              <a:t>Информация на сайте РОИВ</a:t>
            </a:r>
          </a:p>
          <a:p>
            <a:pPr marL="425230" indent="-425230">
              <a:buAutoNum type="arabicPeriod"/>
            </a:pPr>
            <a:endParaRPr lang="ru-RU" sz="1800" dirty="0">
              <a:solidFill>
                <a:schemeClr val="bg1"/>
              </a:solidFill>
            </a:endParaRPr>
          </a:p>
          <a:p>
            <a:pPr marL="425230" indent="-425230">
              <a:buAutoNum type="arabicPeriod"/>
            </a:pPr>
            <a:r>
              <a:rPr lang="ru-RU" sz="1800" dirty="0">
                <a:solidFill>
                  <a:schemeClr val="bg1"/>
                </a:solidFill>
              </a:rPr>
              <a:t>Информация на сайтах ОО</a:t>
            </a:r>
          </a:p>
          <a:p>
            <a:pPr marL="425230" indent="-425230">
              <a:buAutoNum type="arabicPeriod"/>
            </a:pPr>
            <a:endParaRPr lang="ru-RU" sz="1800" dirty="0">
              <a:solidFill>
                <a:schemeClr val="bg1"/>
              </a:solidFill>
            </a:endParaRPr>
          </a:p>
          <a:p>
            <a:pPr marL="425230" indent="-425230">
              <a:buAutoNum type="arabicPeriod"/>
            </a:pPr>
            <a:r>
              <a:rPr lang="ru-RU" sz="1800" dirty="0">
                <a:solidFill>
                  <a:schemeClr val="bg1"/>
                </a:solidFill>
              </a:rPr>
              <a:t>Педагогические советы</a:t>
            </a:r>
          </a:p>
          <a:p>
            <a:endParaRPr lang="ru-RU" sz="1800" dirty="0">
              <a:solidFill>
                <a:schemeClr val="bg1"/>
              </a:solidFill>
            </a:endParaRPr>
          </a:p>
          <a:p>
            <a:r>
              <a:rPr lang="ru-RU" sz="1800" dirty="0">
                <a:solidFill>
                  <a:schemeClr val="bg1"/>
                </a:solidFill>
              </a:rPr>
              <a:t>4. Региональные СМИ и </a:t>
            </a:r>
            <a:r>
              <a:rPr lang="ru-RU" sz="1800" dirty="0" err="1">
                <a:solidFill>
                  <a:schemeClr val="bg1"/>
                </a:solidFill>
              </a:rPr>
              <a:t>паблики</a:t>
            </a:r>
            <a:r>
              <a:rPr lang="ru-RU" sz="1800" dirty="0">
                <a:solidFill>
                  <a:schemeClr val="bg1"/>
                </a:solidFill>
              </a:rPr>
              <a:t> </a:t>
            </a:r>
          </a:p>
          <a:p>
            <a:endParaRPr lang="ru-RU" sz="3156" dirty="0">
              <a:solidFill>
                <a:schemeClr val="bg1"/>
              </a:solidFill>
            </a:endParaRPr>
          </a:p>
          <a:p>
            <a:endParaRPr lang="ru-RU" sz="3156" dirty="0"/>
          </a:p>
          <a:p>
            <a:pPr algn="ctr"/>
            <a:r>
              <a:rPr lang="ru-RU" sz="3156" b="1" dirty="0">
                <a:solidFill>
                  <a:srgbClr val="FFFF00"/>
                </a:solidFill>
              </a:rPr>
              <a:t>Доведение информации до каждого педагога!</a:t>
            </a:r>
          </a:p>
          <a:p>
            <a:pPr marL="425230" indent="-425230">
              <a:buAutoNum type="arabicPeriod"/>
            </a:pPr>
            <a:endParaRPr lang="ru-RU" sz="3156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930E2D0-BACF-80A8-8E9F-377DCD359A9D}"/>
              </a:ext>
            </a:extLst>
          </p:cNvPr>
          <p:cNvSpPr txBox="1"/>
          <p:nvPr/>
        </p:nvSpPr>
        <p:spPr>
          <a:xfrm>
            <a:off x="2667001" y="2645229"/>
            <a:ext cx="4691742" cy="483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Чек-лист мероприятий </a:t>
            </a:r>
          </a:p>
        </p:txBody>
      </p:sp>
    </p:spTree>
    <p:extLst>
      <p:ext uri="{BB962C8B-B14F-4D97-AF65-F5344CB8AC3E}">
        <p14:creationId xmlns:p14="http://schemas.microsoft.com/office/powerpoint/2010/main" val="28306056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B00A0663-912E-F2D4-00B3-93908C5FBE0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34302"/>
              </p:ext>
            </p:extLst>
          </p:nvPr>
        </p:nvGraphicFramePr>
        <p:xfrm>
          <a:off x="829137" y="3274504"/>
          <a:ext cx="11781183" cy="69471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5BA40D3-E97D-533C-94BF-77F8D9450843}"/>
              </a:ext>
            </a:extLst>
          </p:cNvPr>
          <p:cNvSpPr txBox="1"/>
          <p:nvPr/>
        </p:nvSpPr>
        <p:spPr>
          <a:xfrm>
            <a:off x="1774371" y="990600"/>
            <a:ext cx="870873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000" b="1" dirty="0"/>
              <a:t>МЕЖВЕДОМСТВЕННЫЕ ЗАДАЧИ </a:t>
            </a:r>
          </a:p>
        </p:txBody>
      </p:sp>
    </p:spTree>
    <p:extLst>
      <p:ext uri="{BB962C8B-B14F-4D97-AF65-F5344CB8AC3E}">
        <p14:creationId xmlns:p14="http://schemas.microsoft.com/office/powerpoint/2010/main" val="26042678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BAD181C-6D4D-4345-F1EE-B6042FFA9C64}"/>
              </a:ext>
            </a:extLst>
          </p:cNvPr>
          <p:cNvSpPr txBox="1"/>
          <p:nvPr/>
        </p:nvSpPr>
        <p:spPr>
          <a:xfrm>
            <a:off x="1736272" y="837847"/>
            <a:ext cx="899704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НЕОБХОДИМЫЕ  ПОПРАВКИ  </a:t>
            </a:r>
          </a:p>
        </p:txBody>
      </p:sp>
      <p:graphicFrame>
        <p:nvGraphicFramePr>
          <p:cNvPr id="2" name="Схема 1">
            <a:extLst>
              <a:ext uri="{FF2B5EF4-FFF2-40B4-BE49-F238E27FC236}">
                <a16:creationId xmlns:a16="http://schemas.microsoft.com/office/drawing/2014/main" id="{BBED65B6-9536-C59D-A091-B256B778E53F}"/>
              </a:ext>
            </a:extLst>
          </p:cNvPr>
          <p:cNvGraphicFramePr/>
          <p:nvPr/>
        </p:nvGraphicFramePr>
        <p:xfrm>
          <a:off x="1039434" y="2240090"/>
          <a:ext cx="10079567" cy="67197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EEE9C64A-90C3-3EC3-C2BC-FFE86516B700}"/>
              </a:ext>
            </a:extLst>
          </p:cNvPr>
          <p:cNvCxnSpPr>
            <a:cxnSpLocks/>
          </p:cNvCxnSpPr>
          <p:nvPr/>
        </p:nvCxnSpPr>
        <p:spPr>
          <a:xfrm>
            <a:off x="631371" y="5546700"/>
            <a:ext cx="13748658" cy="53245"/>
          </a:xfrm>
          <a:prstGeom prst="line">
            <a:avLst/>
          </a:prstGeom>
          <a:ln w="76200">
            <a:solidFill>
              <a:srgbClr val="8A8A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F492D3B5-3462-C934-5579-6CDC60E6EE89}"/>
              </a:ext>
            </a:extLst>
          </p:cNvPr>
          <p:cNvSpPr txBox="1"/>
          <p:nvPr/>
        </p:nvSpPr>
        <p:spPr>
          <a:xfrm>
            <a:off x="11756571" y="3603171"/>
            <a:ext cx="2644506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/>
              <a:t>Подготовлены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9E5394-25EA-FE96-0EE0-E72AFC7CA557}"/>
              </a:ext>
            </a:extLst>
          </p:cNvPr>
          <p:cNvSpPr txBox="1"/>
          <p:nvPr/>
        </p:nvSpPr>
        <p:spPr>
          <a:xfrm>
            <a:off x="11756571" y="7059495"/>
            <a:ext cx="3115789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/>
              <a:t>Не подготовлены </a:t>
            </a:r>
          </a:p>
        </p:txBody>
      </p:sp>
    </p:spTree>
    <p:extLst>
      <p:ext uri="{BB962C8B-B14F-4D97-AF65-F5344CB8AC3E}">
        <p14:creationId xmlns:p14="http://schemas.microsoft.com/office/powerpoint/2010/main" val="19481523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1715248" y="1411795"/>
            <a:ext cx="11404816" cy="13135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3968" b="1" dirty="0">
                <a:solidFill>
                  <a:srgbClr val="423D67"/>
                </a:solidFill>
              </a:rPr>
              <a:t>МОНИТОРИНГ ЗАБЮРОКРАТИЗИРОВАННОСТИ РЕГИОНОВ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50E01523-83CB-F808-6E9B-587BD67F8D10}"/>
              </a:ext>
            </a:extLst>
          </p:cNvPr>
          <p:cNvSpPr/>
          <p:nvPr/>
        </p:nvSpPr>
        <p:spPr>
          <a:xfrm>
            <a:off x="1181021" y="3655222"/>
            <a:ext cx="1690685" cy="1690685"/>
          </a:xfrm>
          <a:prstGeom prst="rect">
            <a:avLst/>
          </a:prstGeom>
          <a:solidFill>
            <a:srgbClr val="CDCDE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964B84D-2D94-EA3D-464D-D456A751E08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715247" y="4080285"/>
            <a:ext cx="622230" cy="84055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6DC1D22-480E-7B83-0810-FDD354118457}"/>
              </a:ext>
            </a:extLst>
          </p:cNvPr>
          <p:cNvSpPr txBox="1"/>
          <p:nvPr/>
        </p:nvSpPr>
        <p:spPr>
          <a:xfrm>
            <a:off x="2963787" y="4214303"/>
            <a:ext cx="4533036" cy="4739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80" dirty="0">
                <a:solidFill>
                  <a:srgbClr val="462E82"/>
                </a:solidFill>
              </a:rPr>
              <a:t>СФЕРУМ</a:t>
            </a:r>
            <a:r>
              <a:rPr lang="en-US" sz="2480" dirty="0">
                <a:solidFill>
                  <a:srgbClr val="462E82"/>
                </a:solidFill>
              </a:rPr>
              <a:t>/VK </a:t>
            </a:r>
            <a:r>
              <a:rPr lang="ru-RU" sz="2480" dirty="0">
                <a:solidFill>
                  <a:srgbClr val="462E82"/>
                </a:solidFill>
              </a:rPr>
              <a:t>МЕССЕНДЖЕР 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F9F2CA0-C08C-B8D6-0208-0F309BA84362}"/>
              </a:ext>
            </a:extLst>
          </p:cNvPr>
          <p:cNvSpPr/>
          <p:nvPr/>
        </p:nvSpPr>
        <p:spPr>
          <a:xfrm>
            <a:off x="1181021" y="5664551"/>
            <a:ext cx="1690685" cy="1690685"/>
          </a:xfrm>
          <a:prstGeom prst="rect">
            <a:avLst/>
          </a:prstGeom>
          <a:solidFill>
            <a:srgbClr val="CDCDE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1B84D5A-90D9-041D-76AD-9C4BCDCF61E2}"/>
              </a:ext>
            </a:extLst>
          </p:cNvPr>
          <p:cNvSpPr txBox="1"/>
          <p:nvPr/>
        </p:nvSpPr>
        <p:spPr>
          <a:xfrm>
            <a:off x="3405933" y="6028485"/>
            <a:ext cx="2418739" cy="7793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464" b="1" dirty="0">
                <a:solidFill>
                  <a:srgbClr val="462E82"/>
                </a:solidFill>
              </a:rPr>
              <a:t>8</a:t>
            </a:r>
            <a:r>
              <a:rPr lang="ru-RU" sz="2976" dirty="0">
                <a:solidFill>
                  <a:srgbClr val="462E82"/>
                </a:solidFill>
              </a:rPr>
              <a:t> </a:t>
            </a:r>
            <a:r>
              <a:rPr lang="ru-RU" sz="2480" dirty="0">
                <a:solidFill>
                  <a:srgbClr val="462E82"/>
                </a:solidFill>
              </a:rPr>
              <a:t>ВОПРОСОВ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E19D93D-AF7C-351D-7F2E-F4DD37C3331F}"/>
              </a:ext>
            </a:extLst>
          </p:cNvPr>
          <p:cNvSpPr/>
          <p:nvPr/>
        </p:nvSpPr>
        <p:spPr>
          <a:xfrm>
            <a:off x="7555179" y="3648500"/>
            <a:ext cx="1690685" cy="1690685"/>
          </a:xfrm>
          <a:prstGeom prst="rect">
            <a:avLst/>
          </a:prstGeom>
          <a:solidFill>
            <a:srgbClr val="CDCDE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BC622744-DAEF-DA3B-2758-F1F28F7AC861}"/>
              </a:ext>
            </a:extLst>
          </p:cNvPr>
          <p:cNvSpPr/>
          <p:nvPr/>
        </p:nvSpPr>
        <p:spPr>
          <a:xfrm>
            <a:off x="7555179" y="5646138"/>
            <a:ext cx="1690685" cy="1690685"/>
          </a:xfrm>
          <a:prstGeom prst="rect">
            <a:avLst/>
          </a:prstGeom>
          <a:solidFill>
            <a:srgbClr val="CDCDE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27296D-535F-ABC5-DA27-EEECB12C82B6}"/>
              </a:ext>
            </a:extLst>
          </p:cNvPr>
          <p:cNvSpPr txBox="1"/>
          <p:nvPr/>
        </p:nvSpPr>
        <p:spPr>
          <a:xfrm>
            <a:off x="9375243" y="4053432"/>
            <a:ext cx="3378874" cy="7793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464" b="1" dirty="0">
                <a:solidFill>
                  <a:srgbClr val="462E82"/>
                </a:solidFill>
              </a:rPr>
              <a:t>89</a:t>
            </a:r>
            <a:r>
              <a:rPr lang="ru-RU" sz="3156" dirty="0">
                <a:solidFill>
                  <a:srgbClr val="462E82"/>
                </a:solidFill>
              </a:rPr>
              <a:t> </a:t>
            </a:r>
            <a:r>
              <a:rPr lang="ru-RU" sz="2480" dirty="0">
                <a:solidFill>
                  <a:srgbClr val="462E82"/>
                </a:solidFill>
              </a:rPr>
              <a:t>СУБЪЕКТОВ РФ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855DA9C-352D-F4EE-63AB-E0F246250999}"/>
              </a:ext>
            </a:extLst>
          </p:cNvPr>
          <p:cNvSpPr txBox="1"/>
          <p:nvPr/>
        </p:nvSpPr>
        <p:spPr>
          <a:xfrm flipH="1">
            <a:off x="9453420" y="5646138"/>
            <a:ext cx="5588394" cy="1695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64" b="1" dirty="0">
                <a:solidFill>
                  <a:srgbClr val="462E82"/>
                </a:solidFill>
              </a:rPr>
              <a:t>35 599 </a:t>
            </a:r>
            <a:r>
              <a:rPr lang="ru-RU" sz="2480" dirty="0">
                <a:solidFill>
                  <a:srgbClr val="462E82"/>
                </a:solidFill>
              </a:rPr>
              <a:t>УЧИТЕЛЕЙ</a:t>
            </a:r>
          </a:p>
          <a:p>
            <a:endParaRPr lang="ru-RU" sz="2480" dirty="0">
              <a:solidFill>
                <a:srgbClr val="462E82"/>
              </a:solidFill>
            </a:endParaRPr>
          </a:p>
          <a:p>
            <a:r>
              <a:rPr lang="ru-RU" sz="3472" dirty="0">
                <a:solidFill>
                  <a:srgbClr val="462E82"/>
                </a:solidFill>
              </a:rPr>
              <a:t>(</a:t>
            </a:r>
            <a:r>
              <a:rPr lang="ru-RU" sz="3472" b="1" dirty="0">
                <a:solidFill>
                  <a:srgbClr val="462E82"/>
                </a:solidFill>
              </a:rPr>
              <a:t>1120 чел – Татарстан</a:t>
            </a:r>
            <a:r>
              <a:rPr lang="ru-RU" sz="2976" dirty="0">
                <a:solidFill>
                  <a:srgbClr val="462E82"/>
                </a:solidFill>
              </a:rPr>
              <a:t>) </a:t>
            </a:r>
            <a:r>
              <a:rPr lang="ru-RU" sz="3472" dirty="0"/>
              <a:t>	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96700D8-2A6E-A76B-A7FE-7540F2C6DB0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639897" y="6213386"/>
            <a:ext cx="772931" cy="744645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1553F57-9E35-BD13-8BAF-0006941B3E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29826" y="6010074"/>
            <a:ext cx="802790" cy="929546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8A46E293-13CA-7E64-7DA5-F83266157D4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7982871" y="4080284"/>
            <a:ext cx="964681" cy="77466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060D8C4-A472-BA47-95B0-3555FF7BCAA2}"/>
              </a:ext>
            </a:extLst>
          </p:cNvPr>
          <p:cNvSpPr txBox="1"/>
          <p:nvPr/>
        </p:nvSpPr>
        <p:spPr>
          <a:xfrm>
            <a:off x="4755708" y="8272479"/>
            <a:ext cx="3557384" cy="7793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ru-RU" sz="4464" dirty="0"/>
              <a:t>ИЮНЬ 2023 </a:t>
            </a:r>
          </a:p>
        </p:txBody>
      </p:sp>
    </p:spTree>
    <p:extLst>
      <p:ext uri="{BB962C8B-B14F-4D97-AF65-F5344CB8AC3E}">
        <p14:creationId xmlns:p14="http://schemas.microsoft.com/office/powerpoint/2010/main" val="2976574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927540" y="1760042"/>
            <a:ext cx="8888330" cy="582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403"/>
            <a:r>
              <a:rPr lang="ru-RU" sz="3182" b="1" dirty="0">
                <a:solidFill>
                  <a:srgbClr val="423D67"/>
                </a:solidFill>
                <a:latin typeface="Arial" panose="020B0604020202020204"/>
              </a:rPr>
              <a:t>МЕЖВЕДОМСТВЕННАЯ РАБОЧАЯ ГРУППА 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2F2B1C9-EAB6-884C-C6C1-96F1EEA5AB57}"/>
              </a:ext>
            </a:extLst>
          </p:cNvPr>
          <p:cNvSpPr/>
          <p:nvPr/>
        </p:nvSpPr>
        <p:spPr>
          <a:xfrm>
            <a:off x="2377702" y="3569452"/>
            <a:ext cx="10139537" cy="1186265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8403"/>
            <a:r>
              <a:rPr lang="ru-RU" sz="2976" b="1" dirty="0">
                <a:solidFill>
                  <a:prstClr val="black"/>
                </a:solidFill>
                <a:latin typeface="Arial" panose="020B0604020202020204"/>
              </a:rPr>
              <a:t>Председатель </a:t>
            </a:r>
          </a:p>
          <a:p>
            <a:pPr algn="ctr" defTabSz="1028403"/>
            <a:r>
              <a:rPr lang="ru-RU" sz="2976" dirty="0">
                <a:solidFill>
                  <a:prstClr val="black"/>
                </a:solidFill>
                <a:latin typeface="Arial" panose="020B0604020202020204"/>
              </a:rPr>
              <a:t>Музаев А.А.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A3071E2-5ABD-76DB-9FBE-802DEBC881A0}"/>
              </a:ext>
            </a:extLst>
          </p:cNvPr>
          <p:cNvSpPr/>
          <p:nvPr/>
        </p:nvSpPr>
        <p:spPr>
          <a:xfrm>
            <a:off x="2377702" y="5089896"/>
            <a:ext cx="10139537" cy="817451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8403"/>
            <a:r>
              <a:rPr lang="ru-RU" sz="2227" b="1" dirty="0">
                <a:solidFill>
                  <a:prstClr val="black"/>
                </a:solidFill>
                <a:latin typeface="Arial" panose="020B0604020202020204"/>
              </a:rPr>
              <a:t>Руководитель-координатор рабочей группы </a:t>
            </a:r>
          </a:p>
          <a:p>
            <a:pPr algn="ctr" defTabSz="1028403"/>
            <a:r>
              <a:rPr lang="ru-RU" sz="2227" dirty="0">
                <a:solidFill>
                  <a:prstClr val="black"/>
                </a:solidFill>
                <a:latin typeface="Arial" panose="020B0604020202020204"/>
              </a:rPr>
              <a:t>Алтыникова Н.В.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BC16CEB-8E4F-4623-BEE3-8ACF4824E9D5}"/>
              </a:ext>
            </a:extLst>
          </p:cNvPr>
          <p:cNvSpPr/>
          <p:nvPr/>
        </p:nvSpPr>
        <p:spPr>
          <a:xfrm>
            <a:off x="2377702" y="6168736"/>
            <a:ext cx="2969992" cy="916216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8403"/>
            <a:r>
              <a:rPr lang="ru-RU" sz="1909" b="1" dirty="0">
                <a:solidFill>
                  <a:prstClr val="black"/>
                </a:solidFill>
                <a:latin typeface="Arial" panose="020B0604020202020204"/>
              </a:rPr>
              <a:t>Экспертная группа </a:t>
            </a:r>
          </a:p>
          <a:p>
            <a:pPr algn="ctr" defTabSz="1028403"/>
            <a:r>
              <a:rPr lang="ru-RU" sz="1909" dirty="0">
                <a:solidFill>
                  <a:prstClr val="black"/>
                </a:solidFill>
                <a:latin typeface="Arial" panose="020B0604020202020204"/>
              </a:rPr>
              <a:t>Общее образование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4FAA430-119B-7DB9-4A96-2490FAAB49DD}"/>
              </a:ext>
            </a:extLst>
          </p:cNvPr>
          <p:cNvSpPr/>
          <p:nvPr/>
        </p:nvSpPr>
        <p:spPr>
          <a:xfrm>
            <a:off x="5962473" y="6168736"/>
            <a:ext cx="2969992" cy="916216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8403"/>
            <a:r>
              <a:rPr lang="ru-RU" sz="1909" b="1" dirty="0">
                <a:solidFill>
                  <a:prstClr val="black"/>
                </a:solidFill>
                <a:latin typeface="Arial" panose="020B0604020202020204"/>
              </a:rPr>
              <a:t>Экспертная группа </a:t>
            </a:r>
          </a:p>
          <a:p>
            <a:pPr algn="ctr" defTabSz="1028403"/>
            <a:r>
              <a:rPr lang="ru-RU" sz="1909" dirty="0">
                <a:solidFill>
                  <a:prstClr val="black"/>
                </a:solidFill>
                <a:latin typeface="Arial" panose="020B0604020202020204"/>
              </a:rPr>
              <a:t>СПО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476148D-B606-0423-E2CE-6238FACF0C23}"/>
              </a:ext>
            </a:extLst>
          </p:cNvPr>
          <p:cNvSpPr/>
          <p:nvPr/>
        </p:nvSpPr>
        <p:spPr>
          <a:xfrm>
            <a:off x="9547247" y="6168736"/>
            <a:ext cx="2969992" cy="916216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8403"/>
            <a:r>
              <a:rPr lang="ru-RU" sz="1909" b="1" dirty="0">
                <a:solidFill>
                  <a:prstClr val="black"/>
                </a:solidFill>
                <a:latin typeface="Arial" panose="020B0604020202020204"/>
              </a:rPr>
              <a:t>Экспертная группа </a:t>
            </a:r>
          </a:p>
          <a:p>
            <a:pPr algn="ctr" defTabSz="1028403"/>
            <a:r>
              <a:rPr lang="ru-RU" sz="1909" dirty="0">
                <a:solidFill>
                  <a:prstClr val="black"/>
                </a:solidFill>
                <a:latin typeface="Arial" panose="020B0604020202020204"/>
              </a:rPr>
              <a:t>Вузы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9990DE57-3305-7D11-CE68-9EA9C2FB855F}"/>
              </a:ext>
            </a:extLst>
          </p:cNvPr>
          <p:cNvSpPr/>
          <p:nvPr/>
        </p:nvSpPr>
        <p:spPr>
          <a:xfrm>
            <a:off x="2377701" y="7481110"/>
            <a:ext cx="10139538" cy="751416"/>
          </a:xfrm>
          <a:prstGeom prst="rect">
            <a:avLst/>
          </a:prstGeom>
          <a:solidFill>
            <a:srgbClr val="CDC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8403"/>
            <a:r>
              <a:rPr lang="ru-RU" sz="3472" b="1" dirty="0">
                <a:solidFill>
                  <a:schemeClr val="tx1"/>
                </a:solidFill>
                <a:latin typeface="Arial" panose="020B0604020202020204"/>
              </a:rPr>
              <a:t>Проекты документов </a:t>
            </a:r>
          </a:p>
        </p:txBody>
      </p: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3CC94402-E28B-112B-EE64-F3B88219EBAF}"/>
              </a:ext>
            </a:extLst>
          </p:cNvPr>
          <p:cNvCxnSpPr/>
          <p:nvPr/>
        </p:nvCxnSpPr>
        <p:spPr>
          <a:xfrm flipH="1">
            <a:off x="11053892" y="7119325"/>
            <a:ext cx="1" cy="334178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>
            <a:extLst>
              <a:ext uri="{FF2B5EF4-FFF2-40B4-BE49-F238E27FC236}">
                <a16:creationId xmlns:a16="http://schemas.microsoft.com/office/drawing/2014/main" id="{38427CF7-2833-AEE7-4437-C0044FE302F7}"/>
              </a:ext>
            </a:extLst>
          </p:cNvPr>
          <p:cNvCxnSpPr/>
          <p:nvPr/>
        </p:nvCxnSpPr>
        <p:spPr>
          <a:xfrm flipH="1">
            <a:off x="7434482" y="7084953"/>
            <a:ext cx="1" cy="334178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6CB958F4-F1A7-1217-6FB8-34CA81A4AC2D}"/>
              </a:ext>
            </a:extLst>
          </p:cNvPr>
          <p:cNvCxnSpPr/>
          <p:nvPr/>
        </p:nvCxnSpPr>
        <p:spPr>
          <a:xfrm flipH="1">
            <a:off x="3815073" y="7121084"/>
            <a:ext cx="1" cy="334178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7A49E0C2-F271-311A-03E7-3828D860A501}"/>
              </a:ext>
            </a:extLst>
          </p:cNvPr>
          <p:cNvCxnSpPr/>
          <p:nvPr/>
        </p:nvCxnSpPr>
        <p:spPr>
          <a:xfrm flipH="1">
            <a:off x="3854037" y="5892600"/>
            <a:ext cx="1" cy="334178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FB35F87B-050A-5B25-5A3D-0D30888E9CC1}"/>
              </a:ext>
            </a:extLst>
          </p:cNvPr>
          <p:cNvCxnSpPr/>
          <p:nvPr/>
        </p:nvCxnSpPr>
        <p:spPr>
          <a:xfrm flipH="1">
            <a:off x="7434482" y="5898944"/>
            <a:ext cx="1" cy="334178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22914B0F-4A93-9932-BFC8-5191751AE30C}"/>
              </a:ext>
            </a:extLst>
          </p:cNvPr>
          <p:cNvCxnSpPr/>
          <p:nvPr/>
        </p:nvCxnSpPr>
        <p:spPr>
          <a:xfrm flipH="1">
            <a:off x="11036572" y="5907347"/>
            <a:ext cx="1" cy="334178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>
            <a:extLst>
              <a:ext uri="{FF2B5EF4-FFF2-40B4-BE49-F238E27FC236}">
                <a16:creationId xmlns:a16="http://schemas.microsoft.com/office/drawing/2014/main" id="{1FE9FDAB-EFEA-0647-BD03-577F3781EB23}"/>
              </a:ext>
            </a:extLst>
          </p:cNvPr>
          <p:cNvCxnSpPr/>
          <p:nvPr/>
        </p:nvCxnSpPr>
        <p:spPr>
          <a:xfrm flipH="1">
            <a:off x="7408506" y="4755717"/>
            <a:ext cx="1" cy="334178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76945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927540" y="1760042"/>
            <a:ext cx="8888330" cy="10717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403"/>
            <a:r>
              <a:rPr lang="ru-RU" sz="3182" b="1" dirty="0">
                <a:solidFill>
                  <a:srgbClr val="423D67"/>
                </a:solidFill>
                <a:latin typeface="Arial" panose="020B0604020202020204"/>
              </a:rPr>
              <a:t>СНИЗИЛАСЬ ЛИ ДОКУМЕНТАЦИОННАЯ НАГРУЗКА В 2022</a:t>
            </a:r>
            <a:r>
              <a:rPr lang="en-US" sz="3182" b="1" dirty="0">
                <a:solidFill>
                  <a:srgbClr val="423D67"/>
                </a:solidFill>
                <a:latin typeface="Arial" panose="020B0604020202020204"/>
              </a:rPr>
              <a:t>/2023 </a:t>
            </a:r>
            <a:r>
              <a:rPr lang="ru-RU" sz="3182" b="1" dirty="0">
                <a:solidFill>
                  <a:srgbClr val="423D67"/>
                </a:solidFill>
                <a:latin typeface="Arial" panose="020B0604020202020204"/>
              </a:rPr>
              <a:t>УЧЕБНОМ ГОДУ?  </a:t>
            </a:r>
          </a:p>
        </p:txBody>
      </p:sp>
      <p:graphicFrame>
        <p:nvGraphicFramePr>
          <p:cNvPr id="3" name="Объект 11">
            <a:extLst>
              <a:ext uri="{FF2B5EF4-FFF2-40B4-BE49-F238E27FC236}">
                <a16:creationId xmlns:a16="http://schemas.microsoft.com/office/drawing/2014/main" id="{7F9009CF-6B62-5B25-E57E-6378CFE14AF2}"/>
              </a:ext>
            </a:extLst>
          </p:cNvPr>
          <p:cNvGraphicFramePr>
            <a:graphicFrameLocks/>
          </p:cNvGraphicFramePr>
          <p:nvPr/>
        </p:nvGraphicFramePr>
        <p:xfrm>
          <a:off x="970500" y="3357554"/>
          <a:ext cx="13372451" cy="5574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048894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927540" y="1760042"/>
            <a:ext cx="8888330" cy="10717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403"/>
            <a:r>
              <a:rPr lang="ru-RU" sz="3182" b="1" dirty="0">
                <a:solidFill>
                  <a:srgbClr val="423D67"/>
                </a:solidFill>
                <a:latin typeface="Arial" panose="020B0604020202020204"/>
              </a:rPr>
              <a:t>СНИЗИЛАСЬ ЛИ ДОКУМЕНТАЦИОННАЯ НАГРУЗКА В 2022</a:t>
            </a:r>
            <a:r>
              <a:rPr lang="en-US" sz="3182" b="1" dirty="0">
                <a:solidFill>
                  <a:srgbClr val="423D67"/>
                </a:solidFill>
                <a:latin typeface="Arial" panose="020B0604020202020204"/>
              </a:rPr>
              <a:t>/2023 </a:t>
            </a:r>
            <a:r>
              <a:rPr lang="ru-RU" sz="3182" b="1" dirty="0">
                <a:solidFill>
                  <a:srgbClr val="423D67"/>
                </a:solidFill>
                <a:latin typeface="Arial" panose="020B0604020202020204"/>
              </a:rPr>
              <a:t>УЧЕБНОМ ГОДУ?  </a:t>
            </a:r>
          </a:p>
        </p:txBody>
      </p:sp>
      <p:pic>
        <p:nvPicPr>
          <p:cNvPr id="3" name="Объект 4">
            <a:extLst>
              <a:ext uri="{FF2B5EF4-FFF2-40B4-BE49-F238E27FC236}">
                <a16:creationId xmlns:a16="http://schemas.microsoft.com/office/drawing/2014/main" id="{4A9FE331-18CF-E676-0435-B26E64B136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47" y="3219259"/>
            <a:ext cx="12986495" cy="5191195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D483FBF-75CC-2304-8A2B-E940851EC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15870" y="4701114"/>
            <a:ext cx="2057590" cy="222748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F328843-E1B3-2F72-45EB-775C3462805E}"/>
              </a:ext>
            </a:extLst>
          </p:cNvPr>
          <p:cNvSpPr txBox="1"/>
          <p:nvPr/>
        </p:nvSpPr>
        <p:spPr>
          <a:xfrm>
            <a:off x="205060" y="3598989"/>
            <a:ext cx="2891065" cy="106362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3156" dirty="0"/>
              <a:t>Тульская область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5CB9E45-E379-82A7-6AE4-43E2F680BA22}"/>
              </a:ext>
            </a:extLst>
          </p:cNvPr>
          <p:cNvSpPr txBox="1"/>
          <p:nvPr/>
        </p:nvSpPr>
        <p:spPr>
          <a:xfrm>
            <a:off x="205060" y="4243104"/>
            <a:ext cx="2891065" cy="106362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3156" dirty="0"/>
              <a:t>Самарская область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6E43DDE-D60C-416B-28DB-29FBDD6E9927}"/>
              </a:ext>
            </a:extLst>
          </p:cNvPr>
          <p:cNvSpPr txBox="1"/>
          <p:nvPr/>
        </p:nvSpPr>
        <p:spPr>
          <a:xfrm>
            <a:off x="3460004" y="8569179"/>
            <a:ext cx="6115585" cy="131356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r>
              <a:rPr lang="ru-RU" sz="3968" dirty="0">
                <a:solidFill>
                  <a:schemeClr val="bg1"/>
                </a:solidFill>
              </a:rPr>
              <a:t>Республика Татарстан –  21%</a:t>
            </a:r>
          </a:p>
        </p:txBody>
      </p:sp>
    </p:spTree>
    <p:extLst>
      <p:ext uri="{BB962C8B-B14F-4D97-AF65-F5344CB8AC3E}">
        <p14:creationId xmlns:p14="http://schemas.microsoft.com/office/powerpoint/2010/main" val="112929533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4CBB7E24-8BB9-7A6D-7058-4E03A6E10292}"/>
              </a:ext>
            </a:extLst>
          </p:cNvPr>
          <p:cNvSpPr/>
          <p:nvPr/>
        </p:nvSpPr>
        <p:spPr>
          <a:xfrm>
            <a:off x="1857267" y="1449437"/>
            <a:ext cx="11404816" cy="7029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3968" b="1" dirty="0">
                <a:solidFill>
                  <a:srgbClr val="423D67"/>
                </a:solidFill>
              </a:rPr>
              <a:t>СЛЕДУЮЩИЙ ШАГ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4E16771-7776-FEFF-C5BC-8B1D2057FA90}"/>
              </a:ext>
            </a:extLst>
          </p:cNvPr>
          <p:cNvSpPr txBox="1"/>
          <p:nvPr/>
        </p:nvSpPr>
        <p:spPr>
          <a:xfrm>
            <a:off x="633379" y="4515875"/>
            <a:ext cx="4743671" cy="19241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968" dirty="0"/>
              <a:t>Номенклатура дел </a:t>
            </a:r>
          </a:p>
          <a:p>
            <a:r>
              <a:rPr lang="ru-RU" sz="3968" dirty="0"/>
              <a:t>образовательной </a:t>
            </a:r>
          </a:p>
          <a:p>
            <a:r>
              <a:rPr lang="ru-RU" sz="3968" dirty="0"/>
              <a:t>организации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5D0E78B-CA67-18B6-48A6-516B9F5C64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2573" y="3085665"/>
            <a:ext cx="9638504" cy="592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66155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8377815-A14D-92D0-ADD8-FEBF7F73BF3A}"/>
              </a:ext>
            </a:extLst>
          </p:cNvPr>
          <p:cNvSpPr/>
          <p:nvPr/>
        </p:nvSpPr>
        <p:spPr>
          <a:xfrm>
            <a:off x="1368222" y="3639421"/>
            <a:ext cx="3411281" cy="2130620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566974"/>
            <a:endParaRPr lang="ru-RU" sz="2232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788E043-9D31-BA0D-C3A0-339CF343FFC6}"/>
              </a:ext>
            </a:extLst>
          </p:cNvPr>
          <p:cNvSpPr/>
          <p:nvPr/>
        </p:nvSpPr>
        <p:spPr>
          <a:xfrm>
            <a:off x="5036602" y="3639421"/>
            <a:ext cx="3411281" cy="2130620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566974"/>
            <a:endParaRPr lang="ru-RU" sz="2232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8558599-DB98-595D-C44B-9D8B12203215}"/>
              </a:ext>
            </a:extLst>
          </p:cNvPr>
          <p:cNvSpPr/>
          <p:nvPr/>
        </p:nvSpPr>
        <p:spPr>
          <a:xfrm>
            <a:off x="5036602" y="5944849"/>
            <a:ext cx="3411281" cy="2130620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566974"/>
            <a:endParaRPr lang="ru-RU" sz="2232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57E3C86-D638-C5FD-4F63-C64EC56B3CB4}"/>
              </a:ext>
            </a:extLst>
          </p:cNvPr>
          <p:cNvSpPr/>
          <p:nvPr/>
        </p:nvSpPr>
        <p:spPr>
          <a:xfrm>
            <a:off x="8704983" y="5873402"/>
            <a:ext cx="3411281" cy="2130620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566974"/>
            <a:endParaRPr lang="ru-RU" sz="2232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7CA0001-105E-0303-06E9-FD85476C8F8D}"/>
              </a:ext>
            </a:extLst>
          </p:cNvPr>
          <p:cNvSpPr/>
          <p:nvPr/>
        </p:nvSpPr>
        <p:spPr>
          <a:xfrm>
            <a:off x="8704983" y="3639421"/>
            <a:ext cx="3411281" cy="2130620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566974"/>
            <a:r>
              <a:rPr lang="ru-RU" sz="2232" b="1" dirty="0">
                <a:solidFill>
                  <a:prstClr val="black"/>
                </a:solidFill>
                <a:latin typeface="Arial" panose="020B0604020202020204"/>
              </a:rPr>
              <a:t>42 региона</a:t>
            </a:r>
          </a:p>
          <a:p>
            <a:pPr algn="ctr" defTabSz="566974"/>
            <a:endParaRPr lang="ru-RU" sz="2232" b="1" dirty="0">
              <a:solidFill>
                <a:prstClr val="black"/>
              </a:solidFill>
              <a:latin typeface="Arial" panose="020B0604020202020204"/>
            </a:endParaRPr>
          </a:p>
          <a:p>
            <a:pPr algn="ctr" defTabSz="566974"/>
            <a:r>
              <a:rPr lang="ru-RU" sz="2232" b="1" dirty="0">
                <a:solidFill>
                  <a:prstClr val="black"/>
                </a:solidFill>
                <a:latin typeface="Arial" panose="020B0604020202020204"/>
              </a:rPr>
              <a:t>28 889 участников</a:t>
            </a:r>
          </a:p>
          <a:p>
            <a:pPr algn="ctr" defTabSz="566974"/>
            <a:endParaRPr lang="ru-RU" sz="2232" b="1" dirty="0">
              <a:solidFill>
                <a:prstClr val="black"/>
              </a:solidFill>
              <a:latin typeface="Arial" panose="020B0604020202020204"/>
            </a:endParaRPr>
          </a:p>
          <a:p>
            <a:pPr algn="ctr" defTabSz="566974"/>
            <a:r>
              <a:rPr lang="ru-RU" sz="2232" b="1" dirty="0">
                <a:solidFill>
                  <a:prstClr val="black"/>
                </a:solidFill>
                <a:latin typeface="Arial" panose="020B0604020202020204"/>
              </a:rPr>
              <a:t>944 школы 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FC23BD6-9E45-0F6B-E834-CF63EC0F7797}"/>
              </a:ext>
            </a:extLst>
          </p:cNvPr>
          <p:cNvSpPr/>
          <p:nvPr/>
        </p:nvSpPr>
        <p:spPr>
          <a:xfrm>
            <a:off x="1368222" y="5944849"/>
            <a:ext cx="3411281" cy="2130620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566974"/>
            <a:endParaRPr lang="ru-RU" sz="2232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D7F7BD-4872-B943-FA32-060AB4C6FC15}"/>
              </a:ext>
            </a:extLst>
          </p:cNvPr>
          <p:cNvSpPr txBox="1"/>
          <p:nvPr/>
        </p:nvSpPr>
        <p:spPr>
          <a:xfrm>
            <a:off x="5585939" y="3924062"/>
            <a:ext cx="2485600" cy="1466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66974"/>
            <a:r>
              <a:rPr lang="ru-RU" sz="2232" b="1" dirty="0">
                <a:solidFill>
                  <a:prstClr val="black"/>
                </a:solidFill>
                <a:latin typeface="Arial" panose="020B0604020202020204"/>
              </a:rPr>
              <a:t>Обучающиеся </a:t>
            </a:r>
          </a:p>
          <a:p>
            <a:pPr defTabSz="566974"/>
            <a:r>
              <a:rPr lang="ru-RU" sz="2232" b="1" dirty="0">
                <a:solidFill>
                  <a:prstClr val="black"/>
                </a:solidFill>
                <a:latin typeface="Arial" panose="020B0604020202020204"/>
              </a:rPr>
              <a:t>Родители </a:t>
            </a:r>
          </a:p>
          <a:p>
            <a:pPr defTabSz="566974"/>
            <a:r>
              <a:rPr lang="ru-RU" sz="2232" b="1" dirty="0">
                <a:solidFill>
                  <a:prstClr val="black"/>
                </a:solidFill>
                <a:latin typeface="Arial" panose="020B0604020202020204"/>
              </a:rPr>
              <a:t>Учителя </a:t>
            </a:r>
          </a:p>
          <a:p>
            <a:pPr defTabSz="566974"/>
            <a:r>
              <a:rPr lang="ru-RU" sz="2232" b="1" dirty="0">
                <a:solidFill>
                  <a:prstClr val="black"/>
                </a:solidFill>
                <a:latin typeface="Arial" panose="020B0604020202020204"/>
              </a:rPr>
              <a:t>Руководители</a:t>
            </a:r>
            <a:r>
              <a:rPr lang="ru-RU" sz="2232" dirty="0">
                <a:solidFill>
                  <a:prstClr val="black"/>
                </a:solidFill>
                <a:latin typeface="Arial" panose="020B0604020202020204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09E57B-7AB7-4762-DD31-F22CABA69195}"/>
              </a:ext>
            </a:extLst>
          </p:cNvPr>
          <p:cNvSpPr txBox="1"/>
          <p:nvPr/>
        </p:nvSpPr>
        <p:spPr>
          <a:xfrm>
            <a:off x="2277594" y="4330679"/>
            <a:ext cx="1811648" cy="435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66974"/>
            <a:r>
              <a:rPr lang="ru-RU" sz="2232" b="1" dirty="0">
                <a:solidFill>
                  <a:prstClr val="black"/>
                </a:solidFill>
                <a:latin typeface="Arial" panose="020B0604020202020204"/>
              </a:rPr>
              <a:t>2019 - 202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E0B8958-9826-B819-F2C7-3CEC8D32B531}"/>
              </a:ext>
            </a:extLst>
          </p:cNvPr>
          <p:cNvSpPr txBox="1"/>
          <p:nvPr/>
        </p:nvSpPr>
        <p:spPr>
          <a:xfrm>
            <a:off x="5043558" y="6498486"/>
            <a:ext cx="3404262" cy="779316"/>
          </a:xfrm>
          <a:prstGeom prst="rect">
            <a:avLst/>
          </a:prstGeom>
          <a:solidFill>
            <a:srgbClr val="CCCCFF"/>
          </a:solidFill>
        </p:spPr>
        <p:txBody>
          <a:bodyPr wrap="square" rtlCol="0">
            <a:spAutoFit/>
          </a:bodyPr>
          <a:lstStyle/>
          <a:p>
            <a:pPr defTabSz="566974"/>
            <a:r>
              <a:rPr lang="ru-RU" sz="2232" b="1" dirty="0">
                <a:solidFill>
                  <a:prstClr val="black"/>
                </a:solidFill>
                <a:latin typeface="Arial" panose="020B0604020202020204"/>
              </a:rPr>
              <a:t>Выявление ключевых </a:t>
            </a:r>
          </a:p>
          <a:p>
            <a:pPr defTabSz="566974"/>
            <a:r>
              <a:rPr lang="ru-RU" sz="2232" b="1" dirty="0">
                <a:solidFill>
                  <a:prstClr val="black"/>
                </a:solidFill>
                <a:latin typeface="Arial" panose="020B0604020202020204"/>
              </a:rPr>
              <a:t>факторов </a:t>
            </a:r>
            <a:r>
              <a:rPr lang="ru-RU" sz="2232" dirty="0">
                <a:solidFill>
                  <a:prstClr val="black"/>
                </a:solidFill>
                <a:latin typeface="Arial" panose="020B0604020202020204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98ECCA-B061-A527-6626-8F5E93CF6885}"/>
              </a:ext>
            </a:extLst>
          </p:cNvPr>
          <p:cNvSpPr txBox="1"/>
          <p:nvPr/>
        </p:nvSpPr>
        <p:spPr>
          <a:xfrm>
            <a:off x="2211994" y="6501550"/>
            <a:ext cx="1877840" cy="779316"/>
          </a:xfrm>
          <a:prstGeom prst="rect">
            <a:avLst/>
          </a:prstGeom>
          <a:solidFill>
            <a:srgbClr val="CCCCFF"/>
          </a:solidFill>
        </p:spPr>
        <p:txBody>
          <a:bodyPr wrap="square" rtlCol="0">
            <a:spAutoFit/>
          </a:bodyPr>
          <a:lstStyle/>
          <a:p>
            <a:pPr defTabSz="566974"/>
            <a:r>
              <a:rPr lang="ru-RU" sz="2232" b="1" dirty="0">
                <a:solidFill>
                  <a:prstClr val="black"/>
                </a:solidFill>
                <a:latin typeface="Arial" panose="020B0604020202020204"/>
              </a:rPr>
              <a:t>Выявление </a:t>
            </a:r>
          </a:p>
          <a:p>
            <a:pPr defTabSz="566974"/>
            <a:r>
              <a:rPr lang="ru-RU" sz="2232" b="1" dirty="0">
                <a:solidFill>
                  <a:prstClr val="black"/>
                </a:solidFill>
                <a:latin typeface="Arial" panose="020B0604020202020204"/>
              </a:rPr>
              <a:t>проблем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CE5D7A-50C4-9D7E-68D8-2C39B8B020F2}"/>
              </a:ext>
            </a:extLst>
          </p:cNvPr>
          <p:cNvSpPr txBox="1"/>
          <p:nvPr/>
        </p:nvSpPr>
        <p:spPr>
          <a:xfrm>
            <a:off x="8825747" y="6041301"/>
            <a:ext cx="3167576" cy="1809791"/>
          </a:xfrm>
          <a:prstGeom prst="rect">
            <a:avLst/>
          </a:prstGeom>
          <a:solidFill>
            <a:srgbClr val="CCCCFF"/>
          </a:solidFill>
        </p:spPr>
        <p:txBody>
          <a:bodyPr wrap="square" rtlCol="0">
            <a:spAutoFit/>
          </a:bodyPr>
          <a:lstStyle/>
          <a:p>
            <a:pPr defTabSz="566974"/>
            <a:r>
              <a:rPr lang="ru-RU" sz="2232" b="1" dirty="0">
                <a:solidFill>
                  <a:prstClr val="black"/>
                </a:solidFill>
                <a:latin typeface="Arial" panose="020B0604020202020204"/>
              </a:rPr>
              <a:t>Удовлетворенность</a:t>
            </a:r>
          </a:p>
          <a:p>
            <a:pPr defTabSz="566974"/>
            <a:endParaRPr lang="ru-RU" sz="2232" b="1" dirty="0">
              <a:solidFill>
                <a:prstClr val="black"/>
              </a:solidFill>
              <a:latin typeface="Arial" panose="020B0604020202020204"/>
            </a:endParaRPr>
          </a:p>
          <a:p>
            <a:pPr defTabSz="566974"/>
            <a:r>
              <a:rPr lang="ru-RU" sz="2232" b="1" dirty="0">
                <a:solidFill>
                  <a:prstClr val="black"/>
                </a:solidFill>
                <a:latin typeface="Arial" panose="020B0604020202020204"/>
              </a:rPr>
              <a:t>Вовлеченность </a:t>
            </a:r>
          </a:p>
          <a:p>
            <a:pPr defTabSz="566974"/>
            <a:endParaRPr lang="ru-RU" sz="2232" b="1" dirty="0">
              <a:solidFill>
                <a:prstClr val="black"/>
              </a:solidFill>
              <a:latin typeface="Arial" panose="020B0604020202020204"/>
            </a:endParaRPr>
          </a:p>
          <a:p>
            <a:pPr defTabSz="566974"/>
            <a:r>
              <a:rPr lang="ru-RU" sz="2232" b="1" dirty="0">
                <a:solidFill>
                  <a:prstClr val="black"/>
                </a:solidFill>
                <a:latin typeface="Arial" panose="020B0604020202020204"/>
              </a:rPr>
              <a:t>Востребованность 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266D52-EC88-D508-FB61-2D1F791CB793}"/>
              </a:ext>
            </a:extLst>
          </p:cNvPr>
          <p:cNvSpPr txBox="1"/>
          <p:nvPr/>
        </p:nvSpPr>
        <p:spPr>
          <a:xfrm>
            <a:off x="3713688" y="8372200"/>
            <a:ext cx="6741930" cy="7793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66974"/>
            <a:r>
              <a:rPr lang="ru-RU" sz="2232" b="1" dirty="0">
                <a:solidFill>
                  <a:prstClr val="black"/>
                </a:solidFill>
                <a:latin typeface="Arial" panose="020B0604020202020204"/>
              </a:rPr>
              <a:t>Национальный проект «Образование» </a:t>
            </a:r>
          </a:p>
          <a:p>
            <a:pPr defTabSz="566974"/>
            <a:r>
              <a:rPr lang="ru-RU" sz="2232" b="1" dirty="0">
                <a:solidFill>
                  <a:prstClr val="black"/>
                </a:solidFill>
                <a:latin typeface="Arial" panose="020B0604020202020204"/>
              </a:rPr>
              <a:t>Федеральный проект «Современная школа»</a:t>
            </a:r>
          </a:p>
        </p:txBody>
      </p:sp>
      <p:sp>
        <p:nvSpPr>
          <p:cNvPr id="14" name="Прямоугольник 12">
            <a:extLst>
              <a:ext uri="{FF2B5EF4-FFF2-40B4-BE49-F238E27FC236}">
                <a16:creationId xmlns:a16="http://schemas.microsoft.com/office/drawing/2014/main" id="{43C3CDD7-733B-E869-A5C9-1441594F45A3}"/>
              </a:ext>
            </a:extLst>
          </p:cNvPr>
          <p:cNvSpPr/>
          <p:nvPr/>
        </p:nvSpPr>
        <p:spPr>
          <a:xfrm>
            <a:off x="1839473" y="1571276"/>
            <a:ext cx="6986274" cy="10717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pPr defTabSz="566974"/>
            <a:r>
              <a:rPr lang="ru-RU" sz="3182" b="1" dirty="0">
                <a:solidFill>
                  <a:srgbClr val="423D67"/>
                </a:solidFill>
                <a:latin typeface="Arial" panose="020B0604020202020204"/>
              </a:rPr>
              <a:t>ОЦЕНКА УДОВЛЕТВОРЕННОСТИ КАЧЕСТВОМ ОБРАЗОВАНИЯ  </a:t>
            </a:r>
          </a:p>
        </p:txBody>
      </p:sp>
    </p:spTree>
    <p:extLst>
      <p:ext uri="{BB962C8B-B14F-4D97-AF65-F5344CB8AC3E}">
        <p14:creationId xmlns:p14="http://schemas.microsoft.com/office/powerpoint/2010/main" val="41417344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F8A9E6D6-BCA7-1DD8-28DE-31F66F37415B}"/>
              </a:ext>
            </a:extLst>
          </p:cNvPr>
          <p:cNvSpPr/>
          <p:nvPr/>
        </p:nvSpPr>
        <p:spPr>
          <a:xfrm>
            <a:off x="1787762" y="1587978"/>
            <a:ext cx="10808290" cy="582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pPr defTabSz="566974"/>
            <a:r>
              <a:rPr lang="ru-RU" sz="3182" b="1" dirty="0">
                <a:solidFill>
                  <a:srgbClr val="423D67"/>
                </a:solidFill>
                <a:latin typeface="Arial" panose="020B0604020202020204"/>
              </a:rPr>
              <a:t>ПРОБЛЕМЫ, БЕСПОКОЯЩИЕ ОБУЧАЩИХСЯ  </a:t>
            </a:r>
          </a:p>
        </p:txBody>
      </p:sp>
      <p:graphicFrame>
        <p:nvGraphicFramePr>
          <p:cNvPr id="3" name="Диаграмма 2">
            <a:extLst>
              <a:ext uri="{FF2B5EF4-FFF2-40B4-BE49-F238E27FC236}">
                <a16:creationId xmlns:a16="http://schemas.microsoft.com/office/drawing/2014/main" id="{32E7FBF5-8E8F-B694-614C-A06FA5F14ACF}"/>
              </a:ext>
            </a:extLst>
          </p:cNvPr>
          <p:cNvGraphicFramePr/>
          <p:nvPr/>
        </p:nvGraphicFramePr>
        <p:xfrm>
          <a:off x="744685" y="3639421"/>
          <a:ext cx="13629980" cy="5202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994478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89DD1DDB-1E6F-0F7F-D4A5-3996002F1F24}"/>
              </a:ext>
            </a:extLst>
          </p:cNvPr>
          <p:cNvGraphicFramePr>
            <a:graphicFrameLocks/>
          </p:cNvGraphicFramePr>
          <p:nvPr/>
        </p:nvGraphicFramePr>
        <p:xfrm>
          <a:off x="484595" y="3639074"/>
          <a:ext cx="14305230" cy="52031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12">
            <a:extLst>
              <a:ext uri="{FF2B5EF4-FFF2-40B4-BE49-F238E27FC236}">
                <a16:creationId xmlns:a16="http://schemas.microsoft.com/office/drawing/2014/main" id="{01A39659-3A24-D65B-CDC3-FA421FB7290A}"/>
              </a:ext>
            </a:extLst>
          </p:cNvPr>
          <p:cNvSpPr/>
          <p:nvPr/>
        </p:nvSpPr>
        <p:spPr>
          <a:xfrm>
            <a:off x="1936280" y="1567547"/>
            <a:ext cx="9066111" cy="582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pPr defTabSz="566974"/>
            <a:r>
              <a:rPr lang="ru-RU" sz="3182" b="1" dirty="0">
                <a:solidFill>
                  <a:srgbClr val="423D67"/>
                </a:solidFill>
                <a:latin typeface="Arial" panose="020B0604020202020204"/>
              </a:rPr>
              <a:t>ПРОБЛЕМЫ, БЕСПОКОЯЩИЕ УЧИТЕЛЕЙ   </a:t>
            </a:r>
          </a:p>
        </p:txBody>
      </p:sp>
    </p:spTree>
    <p:extLst>
      <p:ext uri="{BB962C8B-B14F-4D97-AF65-F5344CB8AC3E}">
        <p14:creationId xmlns:p14="http://schemas.microsoft.com/office/powerpoint/2010/main" val="31397341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6D49DE45-092E-02DF-EAF5-CB5BAA0333C2}"/>
              </a:ext>
            </a:extLst>
          </p:cNvPr>
          <p:cNvGraphicFramePr>
            <a:graphicFrameLocks/>
          </p:cNvGraphicFramePr>
          <p:nvPr/>
        </p:nvGraphicFramePr>
        <p:xfrm>
          <a:off x="602564" y="2876897"/>
          <a:ext cx="12733479" cy="62318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Прямоугольник 12">
            <a:extLst>
              <a:ext uri="{FF2B5EF4-FFF2-40B4-BE49-F238E27FC236}">
                <a16:creationId xmlns:a16="http://schemas.microsoft.com/office/drawing/2014/main" id="{64EAF70E-8992-6175-8D0F-CF1A9D7F9C2F}"/>
              </a:ext>
            </a:extLst>
          </p:cNvPr>
          <p:cNvSpPr/>
          <p:nvPr/>
        </p:nvSpPr>
        <p:spPr>
          <a:xfrm>
            <a:off x="4388067" y="1583030"/>
            <a:ext cx="6986274" cy="582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3182" b="1" dirty="0">
                <a:solidFill>
                  <a:srgbClr val="423D67"/>
                </a:solidFill>
              </a:rPr>
              <a:t>ЗАМКНУТЫЙ КРУГ ПРОБЛЕМ   </a:t>
            </a:r>
          </a:p>
        </p:txBody>
      </p:sp>
    </p:spTree>
    <p:extLst>
      <p:ext uri="{BB962C8B-B14F-4D97-AF65-F5344CB8AC3E}">
        <p14:creationId xmlns:p14="http://schemas.microsoft.com/office/powerpoint/2010/main" val="24662934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772D045D-1E9E-90CE-7368-D22FB80295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6254539"/>
              </p:ext>
            </p:extLst>
          </p:nvPr>
        </p:nvGraphicFramePr>
        <p:xfrm>
          <a:off x="423637" y="2205079"/>
          <a:ext cx="6804477" cy="82610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418337">
                  <a:extLst>
                    <a:ext uri="{9D8B030D-6E8A-4147-A177-3AD203B41FA5}">
                      <a16:colId xmlns:a16="http://schemas.microsoft.com/office/drawing/2014/main" val="626156863"/>
                    </a:ext>
                  </a:extLst>
                </a:gridCol>
                <a:gridCol w="1386140">
                  <a:extLst>
                    <a:ext uri="{9D8B030D-6E8A-4147-A177-3AD203B41FA5}">
                      <a16:colId xmlns:a16="http://schemas.microsoft.com/office/drawing/2014/main" val="1765475017"/>
                    </a:ext>
                  </a:extLst>
                </a:gridCol>
              </a:tblGrid>
              <a:tr h="117447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600" kern="100" dirty="0">
                          <a:effectLst/>
                        </a:rPr>
                        <a:t>Наименование документа</a:t>
                      </a:r>
                      <a:endParaRPr lang="ru-RU" sz="16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600" kern="100" dirty="0">
                          <a:effectLst/>
                        </a:rPr>
                        <a:t>Доля педагогов, заполняющих документ (%)</a:t>
                      </a:r>
                      <a:endParaRPr lang="ru-RU" sz="16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9532309"/>
                  </a:ext>
                </a:extLst>
              </a:tr>
              <a:tr h="3972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Рабочая программа по учебному предмету (в т.ч. элективным курсам)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96,5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2790001"/>
                  </a:ext>
                </a:extLst>
              </a:tr>
              <a:tr h="46287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Календарно-тематический план по учебному предмету (в т.ч. элективным курсам)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89,8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2049079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Электронный журнал успеваемости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84,8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8323330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Отчеты об успеваемости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80,2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7409954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Личные дела обучающихся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77,9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1519259"/>
                  </a:ext>
                </a:extLst>
              </a:tr>
              <a:tr h="3972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Рабочие программы курсов внеурочной деятельности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76,6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158966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План воспитательной работы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75,7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4287049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Портфолио учителя, документы для аттестации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75,2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1604376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Социальный паспорт класса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75,0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1450077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Журнал инструктажей по технике безопасности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73,5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9214525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Сведения о родителях обучающихся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70,5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2868046"/>
                  </a:ext>
                </a:extLst>
              </a:tr>
              <a:tr h="3972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Отчёт об исполнении учебной программы по преподаваемому предмету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70,4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863002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Отчеты о посещаемости обучающихся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69,0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714337"/>
                  </a:ext>
                </a:extLst>
              </a:tr>
              <a:tr h="3972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Анализ воспитательной работы учителя – классного руководителя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67,2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3706429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Отчеты о выполнении ВПР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66,3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7689454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solidFill>
                            <a:schemeClr val="tx1"/>
                          </a:solidFill>
                          <a:effectLst/>
                        </a:rPr>
                        <a:t>Журнал протоколов родительских собраний</a:t>
                      </a:r>
                      <a:endParaRPr lang="ru-RU" sz="13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63,4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4869153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Журнал внеурочной деятельности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61,9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633254"/>
                  </a:ext>
                </a:extLst>
              </a:tr>
              <a:tr h="3972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solidFill>
                            <a:schemeClr val="tx1"/>
                          </a:solidFill>
                          <a:effectLst/>
                        </a:rPr>
                        <a:t>Отчет о реализации плана воспитательной работы</a:t>
                      </a:r>
                      <a:endParaRPr lang="ru-RU" sz="13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54,7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6833037"/>
                  </a:ext>
                </a:extLst>
              </a:tr>
              <a:tr h="2244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solidFill>
                            <a:schemeClr val="tx1"/>
                          </a:solidFill>
                          <a:effectLst/>
                        </a:rPr>
                        <a:t>Отчет о работе с отстающими обучающимися</a:t>
                      </a:r>
                      <a:endParaRPr lang="ru-RU" sz="13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51,6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7112364"/>
                  </a:ext>
                </a:extLst>
              </a:tr>
              <a:tr h="3972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Программа работы с отстающими обучающимися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50,1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65238"/>
                  </a:ext>
                </a:extLst>
              </a:tr>
              <a:tr h="46287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Отчет о внеурочной деятельности (олимпиады, конкурсы, иные мероприятия)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49,1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4773767"/>
                  </a:ext>
                </a:extLst>
              </a:tr>
              <a:tr h="46287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муниципального органа управления образованием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48,7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3435872"/>
                  </a:ext>
                </a:extLst>
              </a:tr>
              <a:tr h="3972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Отчет о занятости обучающихся в каникулярный период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47,8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2900205"/>
                  </a:ext>
                </a:extLst>
              </a:tr>
            </a:tbl>
          </a:graphicData>
        </a:graphic>
      </p:graphicFrame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EA5B5FF9-7B3C-1FA8-2784-E5F33F7E17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1124588"/>
              </p:ext>
            </p:extLst>
          </p:nvPr>
        </p:nvGraphicFramePr>
        <p:xfrm>
          <a:off x="7429046" y="2205079"/>
          <a:ext cx="7015683" cy="826108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586519">
                  <a:extLst>
                    <a:ext uri="{9D8B030D-6E8A-4147-A177-3AD203B41FA5}">
                      <a16:colId xmlns:a16="http://schemas.microsoft.com/office/drawing/2014/main" val="2038078345"/>
                    </a:ext>
                  </a:extLst>
                </a:gridCol>
                <a:gridCol w="1429164">
                  <a:extLst>
                    <a:ext uri="{9D8B030D-6E8A-4147-A177-3AD203B41FA5}">
                      <a16:colId xmlns:a16="http://schemas.microsoft.com/office/drawing/2014/main" val="1504093582"/>
                    </a:ext>
                  </a:extLst>
                </a:gridCol>
              </a:tblGrid>
              <a:tr h="112000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600" kern="100" dirty="0">
                          <a:effectLst/>
                        </a:rPr>
                        <a:t>Наименование документа</a:t>
                      </a:r>
                      <a:endParaRPr lang="ru-RU" sz="16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600" kern="100" dirty="0">
                          <a:effectLst/>
                        </a:rPr>
                        <a:t>Доля педагогов, заполняющих документ (%)</a:t>
                      </a:r>
                      <a:endParaRPr lang="ru-RU" sz="16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89" marR="50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8519222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Рабочая программа воспитания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47,7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5933284"/>
                  </a:ext>
                </a:extLst>
              </a:tr>
              <a:tr h="3072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Информация по итогам проведенных мероприятий, участии в акциях и др.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46,6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3550711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Табель учета питания обучающихся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46,1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9799796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Анализ результатов ОГЭ, ЕГЭ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44,7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445870"/>
                  </a:ext>
                </a:extLst>
              </a:tr>
              <a:tr h="46586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Информация о работе с обучающимися, состоящими на внутришкольном профилактическом учете и учете в ПДН УВД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43,9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7657986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План работы с обучающимися с ОВЗ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38,8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0284444"/>
                  </a:ext>
                </a:extLst>
              </a:tr>
              <a:tr h="3072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solidFill>
                            <a:schemeClr val="tx1"/>
                          </a:solidFill>
                          <a:effectLst/>
                        </a:rPr>
                        <a:t>Индивидуальные карты занятости обучающихся</a:t>
                      </a:r>
                      <a:endParaRPr lang="ru-RU" sz="13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37,8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9263310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solidFill>
                            <a:schemeClr val="tx1"/>
                          </a:solidFill>
                          <a:effectLst/>
                        </a:rPr>
                        <a:t>Журнал протоколов классных часов</a:t>
                      </a:r>
                      <a:endParaRPr lang="ru-RU" sz="13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37,3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756229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Планы по подготовке к ОГЭ, ЕГЭ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37,0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1031154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План работы с одаренными детьми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36,1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870532"/>
                  </a:ext>
                </a:extLst>
              </a:tr>
              <a:tr h="43633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Акты обследования жилищно-бытовых условий семьи несовершеннолетнего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34,8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1118802"/>
                  </a:ext>
                </a:extLst>
              </a:tr>
              <a:tr h="43633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регионального органа управления образованием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33,9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5646045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solidFill>
                            <a:schemeClr val="tx1"/>
                          </a:solidFill>
                          <a:effectLst/>
                        </a:rPr>
                        <a:t>Бумажный журнал успеваемости</a:t>
                      </a:r>
                      <a:endParaRPr lang="ru-RU" sz="13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effectLst/>
                        </a:rPr>
                        <a:t>31,7</a:t>
                      </a:r>
                      <a:endParaRPr lang="ru-RU" sz="13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694912"/>
                  </a:ext>
                </a:extLst>
              </a:tr>
              <a:tr h="46586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solidFill>
                            <a:schemeClr val="tx1"/>
                          </a:solidFill>
                          <a:effectLst/>
                        </a:rPr>
                        <a:t>Документация, связанная с проведением экскурсий (маршрутные листы, медицинские справки, сведения о транспорте и др.)</a:t>
                      </a:r>
                      <a:endParaRPr lang="ru-RU" sz="13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31,3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8682040"/>
                  </a:ext>
                </a:extLst>
              </a:tr>
              <a:tr h="3072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Документация, связанная с эпидемиологической ситуацией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30,9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0475692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solidFill>
                            <a:schemeClr val="tx1"/>
                          </a:solidFill>
                          <a:effectLst/>
                        </a:rPr>
                        <a:t>Отчет о работе с обучающимися с ОВЗ</a:t>
                      </a:r>
                      <a:endParaRPr lang="ru-RU" sz="13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30,7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0811760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>
                          <a:solidFill>
                            <a:schemeClr val="tx1"/>
                          </a:solidFill>
                          <a:effectLst/>
                        </a:rPr>
                        <a:t>Отчет о работе с одаренными детьми</a:t>
                      </a:r>
                      <a:endParaRPr lang="ru-RU" sz="13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29,8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1496222"/>
                  </a:ext>
                </a:extLst>
              </a:tr>
              <a:tr h="3072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Программа развития универсальных учебных действий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27,7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3880137"/>
                  </a:ext>
                </a:extLst>
              </a:tr>
              <a:tr h="43633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Карты индивидуального сопровождения обучающихся различных групп учета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25,4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19499"/>
                  </a:ext>
                </a:extLst>
              </a:tr>
              <a:tr h="46586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федерального органа управления и контроля в сфере образования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24,0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3884243"/>
                  </a:ext>
                </a:extLst>
              </a:tr>
              <a:tr h="3072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План подготовки обучающихся к участию в олимпиадах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22,6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964885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Самоанализ воспитательного компонента урока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21,1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5090782"/>
                  </a:ext>
                </a:extLst>
              </a:tr>
              <a:tr h="3072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Роспотребнадзора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20,3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8977525"/>
                  </a:ext>
                </a:extLst>
              </a:tr>
              <a:tr h="2115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solidFill>
                            <a:schemeClr val="tx1"/>
                          </a:solidFill>
                          <a:effectLst/>
                        </a:rPr>
                        <a:t>Мониторинг по патриотическому воспитанию</a:t>
                      </a:r>
                      <a:endParaRPr lang="ru-RU" sz="13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300" kern="100" dirty="0">
                          <a:effectLst/>
                        </a:rPr>
                        <a:t>16,6</a:t>
                      </a:r>
                      <a:endParaRPr lang="ru-RU" sz="13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03" marR="4810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688745"/>
                  </a:ext>
                </a:extLst>
              </a:tr>
            </a:tbl>
          </a:graphicData>
        </a:graphic>
      </p:graphicFrame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CFAA2AE6-FAAC-60D9-1699-711ABEC10580}"/>
              </a:ext>
            </a:extLst>
          </p:cNvPr>
          <p:cNvSpPr/>
          <p:nvPr/>
        </p:nvSpPr>
        <p:spPr>
          <a:xfrm>
            <a:off x="1885422" y="502840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ДОКУМЕНТАЦИЯ УЧИТЕЛЯ В 2021 ГОДУ </a:t>
            </a:r>
          </a:p>
        </p:txBody>
      </p:sp>
    </p:spTree>
    <p:extLst>
      <p:ext uri="{BB962C8B-B14F-4D97-AF65-F5344CB8AC3E}">
        <p14:creationId xmlns:p14="http://schemas.microsoft.com/office/powerpoint/2010/main" val="10763337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2FE3018-F0BF-8492-E2CA-39A1F8F998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099" y="3515725"/>
            <a:ext cx="7371470" cy="4678220"/>
          </a:xfrm>
          <a:prstGeom prst="rect">
            <a:avLst/>
          </a:prstGeom>
          <a:noFill/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F1F8F39-DCE7-8A9F-040F-0A7FAEC8DC7B}"/>
              </a:ext>
            </a:extLst>
          </p:cNvPr>
          <p:cNvSpPr txBox="1"/>
          <p:nvPr/>
        </p:nvSpPr>
        <p:spPr>
          <a:xfrm>
            <a:off x="9209313" y="4685831"/>
            <a:ext cx="4844144" cy="17661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0">
              <a:lnSpc>
                <a:spcPct val="107000"/>
              </a:lnSpc>
              <a:spcAft>
                <a:spcPts val="992"/>
              </a:spcAft>
              <a:buNone/>
            </a:pPr>
            <a:r>
              <a:rPr lang="ru-RU" sz="4800" b="1" dirty="0">
                <a:solidFill>
                  <a:srgbClr val="423D67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63 региона</a:t>
            </a:r>
          </a:p>
          <a:p>
            <a:pPr indent="0">
              <a:lnSpc>
                <a:spcPct val="107000"/>
              </a:lnSpc>
              <a:spcAft>
                <a:spcPts val="992"/>
              </a:spcAft>
              <a:buNone/>
            </a:pPr>
            <a:r>
              <a:rPr lang="ru-RU" sz="4800" b="1" dirty="0">
                <a:solidFill>
                  <a:srgbClr val="423D67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8 814 человек</a:t>
            </a:r>
            <a:endParaRPr lang="ru-RU" sz="4800" dirty="0">
              <a:solidFill>
                <a:srgbClr val="423D67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12">
            <a:extLst>
              <a:ext uri="{FF2B5EF4-FFF2-40B4-BE49-F238E27FC236}">
                <a16:creationId xmlns:a16="http://schemas.microsoft.com/office/drawing/2014/main" id="{CE2611DE-9DF9-59E5-27C7-990F656056C9}"/>
              </a:ext>
            </a:extLst>
          </p:cNvPr>
          <p:cNvSpPr/>
          <p:nvPr/>
        </p:nvSpPr>
        <p:spPr>
          <a:xfrm>
            <a:off x="2072459" y="870313"/>
            <a:ext cx="10252291" cy="8556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960" b="1" dirty="0">
                <a:solidFill>
                  <a:srgbClr val="423D67"/>
                </a:solidFill>
              </a:rPr>
              <a:t>ДОКУМЕНТАЦИЯ ВОСПИТАТЕЛЯ  </a:t>
            </a:r>
          </a:p>
        </p:txBody>
      </p:sp>
    </p:spTree>
    <p:extLst>
      <p:ext uri="{BB962C8B-B14F-4D97-AF65-F5344CB8AC3E}">
        <p14:creationId xmlns:p14="http://schemas.microsoft.com/office/powerpoint/2010/main" val="25901150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8A8AD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8A8AD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020</TotalTime>
  <Words>2543</Words>
  <Application>Microsoft Office PowerPoint</Application>
  <PresentationFormat>Произвольный</PresentationFormat>
  <Paragraphs>920</Paragraphs>
  <Slides>3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2</vt:i4>
      </vt:variant>
    </vt:vector>
  </HeadingPairs>
  <TitlesOfParts>
    <vt:vector size="41" baseType="lpstr">
      <vt:lpstr>Calibri</vt:lpstr>
      <vt:lpstr>Calibri Light</vt:lpstr>
      <vt:lpstr>Arial</vt:lpstr>
      <vt:lpstr>Times New Roman</vt:lpstr>
      <vt:lpstr>STFangsong</vt:lpstr>
      <vt:lpstr>Тема Office</vt:lpstr>
      <vt:lpstr>1_Тема Office</vt:lpstr>
      <vt:lpstr>2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ЕГИОНАЛЬНЫЕ ЗАДАЧИ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уплинов Ярослав</dc:creator>
  <cp:lastModifiedBy>Пользователь Windows</cp:lastModifiedBy>
  <cp:revision>840</cp:revision>
  <cp:lastPrinted>2021-03-16T12:01:01Z</cp:lastPrinted>
  <dcterms:created xsi:type="dcterms:W3CDTF">2020-06-19T06:58:49Z</dcterms:created>
  <dcterms:modified xsi:type="dcterms:W3CDTF">2023-10-16T05:51:50Z</dcterms:modified>
</cp:coreProperties>
</file>